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Lst>
  <p:notesMasterIdLst>
    <p:notesMasterId r:id="rId39"/>
  </p:notesMasterIdLst>
  <p:sldIdLst>
    <p:sldId id="298" r:id="rId2"/>
    <p:sldId id="257" r:id="rId3"/>
    <p:sldId id="258" r:id="rId4"/>
    <p:sldId id="300" r:id="rId5"/>
    <p:sldId id="301" r:id="rId6"/>
    <p:sldId id="263" r:id="rId7"/>
    <p:sldId id="259" r:id="rId8"/>
    <p:sldId id="260" r:id="rId9"/>
    <p:sldId id="262" r:id="rId10"/>
    <p:sldId id="266" r:id="rId11"/>
    <p:sldId id="261" r:id="rId12"/>
    <p:sldId id="269" r:id="rId13"/>
    <p:sldId id="302" r:id="rId14"/>
    <p:sldId id="271" r:id="rId15"/>
    <p:sldId id="305" r:id="rId16"/>
    <p:sldId id="272" r:id="rId17"/>
    <p:sldId id="273" r:id="rId18"/>
    <p:sldId id="276" r:id="rId19"/>
    <p:sldId id="304" r:id="rId20"/>
    <p:sldId id="277" r:id="rId21"/>
    <p:sldId id="275" r:id="rId22"/>
    <p:sldId id="284" r:id="rId23"/>
    <p:sldId id="289" r:id="rId24"/>
    <p:sldId id="286" r:id="rId25"/>
    <p:sldId id="285" r:id="rId26"/>
    <p:sldId id="290" r:id="rId27"/>
    <p:sldId id="291" r:id="rId28"/>
    <p:sldId id="292" r:id="rId29"/>
    <p:sldId id="293" r:id="rId30"/>
    <p:sldId id="283" r:id="rId31"/>
    <p:sldId id="278" r:id="rId32"/>
    <p:sldId id="268" r:id="rId33"/>
    <p:sldId id="267" r:id="rId34"/>
    <p:sldId id="294" r:id="rId35"/>
    <p:sldId id="296" r:id="rId36"/>
    <p:sldId id="297" r:id="rId37"/>
    <p:sldId id="295" r:id="rId3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9930" autoAdjust="0"/>
  </p:normalViewPr>
  <p:slideViewPr>
    <p:cSldViewPr snapToGrid="0">
      <p:cViewPr varScale="1">
        <p:scale>
          <a:sx n="83" d="100"/>
          <a:sy n="83" d="100"/>
        </p:scale>
        <p:origin x="1435"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Thomas\Dropbox\CTFYS\IPT\Handy%20glider\hand%20configuration%20measurement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Thomas\Documents\CTFYS\IPT\Handy%20glider\hand%20configuration%20measurement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Thomas\Dropbox\CTFYS\IPT\Handy%20glider\hand%20configuration%20measurement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Thomas\Dropbox\CTFYS\IPT\Handy%20glider\hand%20configuration%20measurement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a:t>Effect of finger spread</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lineChart>
        <c:grouping val="standard"/>
        <c:varyColors val="0"/>
        <c:ser>
          <c:idx val="0"/>
          <c:order val="0"/>
          <c:spPr>
            <a:ln w="19050" cap="rnd">
              <a:solidFill>
                <a:schemeClr val="accent1"/>
              </a:solidFill>
              <a:round/>
            </a:ln>
            <a:effectLst/>
          </c:spPr>
          <c:marker>
            <c:symbol val="diamond"/>
            <c:size val="5"/>
            <c:spPr>
              <a:solidFill>
                <a:schemeClr val="accent1"/>
              </a:solidFill>
              <a:ln w="9525">
                <a:solidFill>
                  <a:schemeClr val="accent1"/>
                </a:solidFill>
              </a:ln>
              <a:effectLst/>
            </c:spPr>
          </c:marker>
          <c:errBars>
            <c:errDir val="y"/>
            <c:errBarType val="both"/>
            <c:errValType val="cust"/>
            <c:noEndCap val="0"/>
            <c:plus>
              <c:numRef>
                <c:f>Spread!$F$2:$F$5</c:f>
                <c:numCache>
                  <c:formatCode>General</c:formatCode>
                  <c:ptCount val="4"/>
                  <c:pt idx="0">
                    <c:v>4.9999999999999822E-2</c:v>
                  </c:pt>
                  <c:pt idx="1">
                    <c:v>0</c:v>
                  </c:pt>
                  <c:pt idx="2">
                    <c:v>0.10000000000000009</c:v>
                  </c:pt>
                  <c:pt idx="3">
                    <c:v>5.0000000000000044E-2</c:v>
                  </c:pt>
                </c:numCache>
              </c:numRef>
            </c:plus>
            <c:minus>
              <c:numRef>
                <c:f>Spread!$E$2:$E$5</c:f>
                <c:numCache>
                  <c:formatCode>General</c:formatCode>
                  <c:ptCount val="4"/>
                  <c:pt idx="0">
                    <c:v>5.0000000000000044E-2</c:v>
                  </c:pt>
                  <c:pt idx="1">
                    <c:v>0</c:v>
                  </c:pt>
                  <c:pt idx="2">
                    <c:v>0</c:v>
                  </c:pt>
                  <c:pt idx="3">
                    <c:v>5.0000000000000044E-2</c:v>
                  </c:pt>
                </c:numCache>
              </c:numRef>
            </c:minus>
            <c:spPr>
              <a:noFill/>
              <a:ln w="9525" cap="flat" cmpd="sng" algn="ctr">
                <a:solidFill>
                  <a:schemeClr val="tx1">
                    <a:lumMod val="65000"/>
                    <a:lumOff val="35000"/>
                  </a:schemeClr>
                </a:solidFill>
                <a:round/>
              </a:ln>
              <a:effectLst/>
            </c:spPr>
          </c:errBars>
          <c:cat>
            <c:strRef>
              <c:f>Spread!$A$2:$A$5</c:f>
              <c:strCache>
                <c:ptCount val="4"/>
                <c:pt idx="0">
                  <c:v>No spread</c:v>
                </c:pt>
                <c:pt idx="1">
                  <c:v>Nano spread</c:v>
                </c:pt>
                <c:pt idx="2">
                  <c:v>Slight spread</c:v>
                </c:pt>
                <c:pt idx="3">
                  <c:v>Super spread</c:v>
                </c:pt>
              </c:strCache>
            </c:strRef>
          </c:cat>
          <c:val>
            <c:numRef>
              <c:f>Spread!$B$2:$B$5</c:f>
              <c:numCache>
                <c:formatCode>General</c:formatCode>
                <c:ptCount val="4"/>
                <c:pt idx="0">
                  <c:v>1.35</c:v>
                </c:pt>
                <c:pt idx="1">
                  <c:v>1.3</c:v>
                </c:pt>
                <c:pt idx="2">
                  <c:v>1.2</c:v>
                </c:pt>
                <c:pt idx="3">
                  <c:v>1.05</c:v>
                </c:pt>
              </c:numCache>
            </c:numRef>
          </c:val>
          <c:smooth val="0"/>
          <c:extLst>
            <c:ext xmlns:c16="http://schemas.microsoft.com/office/drawing/2014/chart" uri="{C3380CC4-5D6E-409C-BE32-E72D297353CC}">
              <c16:uniqueId val="{00000000-F7E6-4D04-BF50-A0C5D960D380}"/>
            </c:ext>
          </c:extLst>
        </c:ser>
        <c:dLbls>
          <c:showLegendKey val="0"/>
          <c:showVal val="0"/>
          <c:showCatName val="0"/>
          <c:showSerName val="0"/>
          <c:showPercent val="0"/>
          <c:showBubbleSize val="0"/>
        </c:dLbls>
        <c:marker val="1"/>
        <c:smooth val="0"/>
        <c:axId val="489898720"/>
        <c:axId val="489896424"/>
      </c:lineChart>
      <c:catAx>
        <c:axId val="4898987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sv-SE"/>
          </a:p>
        </c:txPr>
        <c:crossAx val="489896424"/>
        <c:crosses val="autoZero"/>
        <c:auto val="1"/>
        <c:lblAlgn val="ctr"/>
        <c:lblOffset val="100"/>
        <c:noMultiLvlLbl val="0"/>
      </c:catAx>
      <c:valAx>
        <c:axId val="489896424"/>
        <c:scaling>
          <c:orientation val="minMax"/>
          <c:min val="0.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sv-SE" sz="1800" dirty="0" err="1"/>
                  <a:t>wind</a:t>
                </a:r>
                <a:r>
                  <a:rPr lang="sv-SE" sz="1800" dirty="0"/>
                  <a:t> z-</a:t>
                </a:r>
                <a:r>
                  <a:rPr lang="sv-SE" sz="1800" dirty="0" err="1"/>
                  <a:t>component</a:t>
                </a:r>
                <a:r>
                  <a:rPr lang="sv-SE" sz="1800" dirty="0"/>
                  <a:t> [m/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4898987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sv-SE"/>
              <a:t>Effect of x-axis pitch</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scatterChart>
        <c:scatterStyle val="lineMarker"/>
        <c:varyColors val="0"/>
        <c:ser>
          <c:idx val="0"/>
          <c:order val="0"/>
          <c:spPr>
            <a:ln w="19050" cap="rnd">
              <a:solidFill>
                <a:schemeClr val="accent1"/>
              </a:solidFill>
              <a:round/>
            </a:ln>
            <a:effectLst/>
          </c:spPr>
          <c:marker>
            <c:symbol val="circle"/>
            <c:size val="5"/>
            <c:spPr>
              <a:solidFill>
                <a:schemeClr val="accent1"/>
              </a:solidFill>
              <a:ln w="9525">
                <a:solidFill>
                  <a:schemeClr val="accent1"/>
                </a:solidFill>
              </a:ln>
              <a:effectLst/>
            </c:spPr>
          </c:marker>
          <c:errBars>
            <c:errDir val="y"/>
            <c:errBarType val="both"/>
            <c:errValType val="cust"/>
            <c:noEndCap val="0"/>
            <c:plus>
              <c:numRef>
                <c:f>'x-pitch'!$F$2:$F$6</c:f>
                <c:numCache>
                  <c:formatCode>General</c:formatCode>
                  <c:ptCount val="5"/>
                  <c:pt idx="0">
                    <c:v>4.9999999999999822E-2</c:v>
                  </c:pt>
                  <c:pt idx="1">
                    <c:v>0</c:v>
                  </c:pt>
                  <c:pt idx="2">
                    <c:v>0.10000000000000009</c:v>
                  </c:pt>
                  <c:pt idx="3">
                    <c:v>0</c:v>
                  </c:pt>
                  <c:pt idx="4">
                    <c:v>0</c:v>
                  </c:pt>
                </c:numCache>
              </c:numRef>
            </c:plus>
            <c:minus>
              <c:numRef>
                <c:f>'x-pitch'!$E$2:$E$6</c:f>
                <c:numCache>
                  <c:formatCode>General</c:formatCode>
                  <c:ptCount val="5"/>
                  <c:pt idx="0">
                    <c:v>5.0000000000000044E-2</c:v>
                  </c:pt>
                  <c:pt idx="1">
                    <c:v>0.10000000000000009</c:v>
                  </c:pt>
                  <c:pt idx="2">
                    <c:v>0</c:v>
                  </c:pt>
                  <c:pt idx="3">
                    <c:v>0.10000000000000009</c:v>
                  </c:pt>
                  <c:pt idx="4">
                    <c:v>9.9999999999999867E-2</c:v>
                  </c:pt>
                </c:numCache>
              </c:numRef>
            </c:minus>
            <c:spPr>
              <a:noFill/>
              <a:ln w="9525" cap="flat" cmpd="sng" algn="ctr">
                <a:solidFill>
                  <a:schemeClr val="tx1">
                    <a:lumMod val="65000"/>
                    <a:lumOff val="35000"/>
                  </a:schemeClr>
                </a:solidFill>
                <a:round/>
              </a:ln>
              <a:effectLst/>
            </c:spPr>
          </c:errBars>
          <c:xVal>
            <c:numRef>
              <c:f>'x-pitch'!$A$2:$A$6</c:f>
              <c:numCache>
                <c:formatCode>General</c:formatCode>
                <c:ptCount val="5"/>
                <c:pt idx="0">
                  <c:v>0</c:v>
                </c:pt>
                <c:pt idx="1">
                  <c:v>15</c:v>
                </c:pt>
                <c:pt idx="2">
                  <c:v>30</c:v>
                </c:pt>
                <c:pt idx="3">
                  <c:v>45</c:v>
                </c:pt>
                <c:pt idx="4">
                  <c:v>60</c:v>
                </c:pt>
              </c:numCache>
            </c:numRef>
          </c:xVal>
          <c:yVal>
            <c:numRef>
              <c:f>'x-pitch'!$B$2:$B$6</c:f>
              <c:numCache>
                <c:formatCode>General</c:formatCode>
                <c:ptCount val="5"/>
                <c:pt idx="0">
                  <c:v>1.35</c:v>
                </c:pt>
                <c:pt idx="1">
                  <c:v>1.5</c:v>
                </c:pt>
                <c:pt idx="2">
                  <c:v>1.5</c:v>
                </c:pt>
                <c:pt idx="3">
                  <c:v>1.5</c:v>
                </c:pt>
                <c:pt idx="4">
                  <c:v>1.4</c:v>
                </c:pt>
              </c:numCache>
            </c:numRef>
          </c:yVal>
          <c:smooth val="0"/>
          <c:extLst>
            <c:ext xmlns:c16="http://schemas.microsoft.com/office/drawing/2014/chart" uri="{C3380CC4-5D6E-409C-BE32-E72D297353CC}">
              <c16:uniqueId val="{00000000-3BD2-4DEA-A126-D551AD0C7D40}"/>
            </c:ext>
          </c:extLst>
        </c:ser>
        <c:ser>
          <c:idx val="1"/>
          <c:order val="1"/>
          <c:tx>
            <c:v>Comsol</c:v>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x-pitch'!$A$9:$A$13</c:f>
              <c:numCache>
                <c:formatCode>General</c:formatCode>
                <c:ptCount val="5"/>
                <c:pt idx="0">
                  <c:v>0</c:v>
                </c:pt>
                <c:pt idx="1">
                  <c:v>15</c:v>
                </c:pt>
                <c:pt idx="2">
                  <c:v>30</c:v>
                </c:pt>
                <c:pt idx="3">
                  <c:v>45</c:v>
                </c:pt>
                <c:pt idx="4">
                  <c:v>60</c:v>
                </c:pt>
              </c:numCache>
            </c:numRef>
          </c:xVal>
          <c:yVal>
            <c:numRef>
              <c:f>'x-pitch'!$C$9:$C$13</c:f>
              <c:numCache>
                <c:formatCode>General</c:formatCode>
                <c:ptCount val="5"/>
                <c:pt idx="0">
                  <c:v>0.42399999999999999</c:v>
                </c:pt>
                <c:pt idx="1">
                  <c:v>0.48199999999999998</c:v>
                </c:pt>
                <c:pt idx="2">
                  <c:v>0.51500000000000001</c:v>
                </c:pt>
                <c:pt idx="3">
                  <c:v>0.51300000000000001</c:v>
                </c:pt>
                <c:pt idx="4">
                  <c:v>0.47699999999999998</c:v>
                </c:pt>
              </c:numCache>
            </c:numRef>
          </c:yVal>
          <c:smooth val="0"/>
          <c:extLst>
            <c:ext xmlns:c16="http://schemas.microsoft.com/office/drawing/2014/chart" uri="{C3380CC4-5D6E-409C-BE32-E72D297353CC}">
              <c16:uniqueId val="{00000001-3BD2-4DEA-A126-D551AD0C7D40}"/>
            </c:ext>
          </c:extLst>
        </c:ser>
        <c:dLbls>
          <c:showLegendKey val="0"/>
          <c:showVal val="0"/>
          <c:showCatName val="0"/>
          <c:showSerName val="0"/>
          <c:showPercent val="0"/>
          <c:showBubbleSize val="0"/>
        </c:dLbls>
        <c:axId val="500197264"/>
        <c:axId val="500196936"/>
      </c:scatterChart>
      <c:valAx>
        <c:axId val="50019726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sv-SE"/>
                  <a:t>degree angle, measured from vertical direction</a:t>
                </a:r>
              </a:p>
            </c:rich>
          </c:tx>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sv-SE"/>
          </a:p>
        </c:txPr>
        <c:crossAx val="500196936"/>
        <c:crosses val="autoZero"/>
        <c:crossBetween val="midCat"/>
      </c:valAx>
      <c:valAx>
        <c:axId val="5001969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sv-SE"/>
                  <a:t>wind z-component [m/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sv-SE"/>
          </a:p>
        </c:txPr>
        <c:crossAx val="500197264"/>
        <c:crosses val="autoZero"/>
        <c:crossBetween val="midCat"/>
      </c:valAx>
      <c:spPr>
        <a:noFill/>
        <a:ln>
          <a:noFill/>
        </a:ln>
        <a:effectLst/>
      </c:spPr>
    </c:plotArea>
    <c:plotVisOnly val="1"/>
    <c:dispBlanksAs val="gap"/>
    <c:showDLblsOverMax val="0"/>
  </c:chart>
  <c:spPr>
    <a:noFill/>
    <a:ln>
      <a:noFill/>
    </a:ln>
    <a:effectLst/>
  </c:spPr>
  <c:txPr>
    <a:bodyPr/>
    <a:lstStyle/>
    <a:p>
      <a:pPr>
        <a:defRPr sz="1800"/>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sz="2000" dirty="0" err="1"/>
              <a:t>Effect</a:t>
            </a:r>
            <a:r>
              <a:rPr lang="sv-SE" sz="2000" baseline="0" dirty="0"/>
              <a:t> </a:t>
            </a:r>
            <a:r>
              <a:rPr lang="sv-SE" sz="2000" baseline="0" dirty="0" err="1"/>
              <a:t>of</a:t>
            </a:r>
            <a:r>
              <a:rPr lang="sv-SE" sz="2000" baseline="0" dirty="0"/>
              <a:t> z-</a:t>
            </a:r>
            <a:r>
              <a:rPr lang="sv-SE" sz="2000" baseline="0" dirty="0" err="1"/>
              <a:t>axis</a:t>
            </a:r>
            <a:r>
              <a:rPr lang="sv-SE" sz="2000" baseline="0" dirty="0"/>
              <a:t> </a:t>
            </a:r>
            <a:r>
              <a:rPr lang="sv-SE" sz="2000" baseline="0" dirty="0" err="1"/>
              <a:t>yaw</a:t>
            </a:r>
            <a:endParaRPr lang="sv-SE" sz="20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scatterChart>
        <c:scatterStyle val="lineMarker"/>
        <c:varyColors val="0"/>
        <c:ser>
          <c:idx val="0"/>
          <c:order val="0"/>
          <c:spPr>
            <a:ln w="19050" cap="rnd">
              <a:solidFill>
                <a:schemeClr val="accent1"/>
              </a:solidFill>
              <a:round/>
            </a:ln>
            <a:effectLst/>
          </c:spPr>
          <c:marker>
            <c:symbol val="square"/>
            <c:size val="5"/>
            <c:spPr>
              <a:solidFill>
                <a:schemeClr val="accent1"/>
              </a:solidFill>
              <a:ln w="9525">
                <a:solidFill>
                  <a:schemeClr val="accent1"/>
                </a:solidFill>
              </a:ln>
              <a:effectLst/>
            </c:spPr>
          </c:marker>
          <c:errBars>
            <c:errDir val="y"/>
            <c:errBarType val="both"/>
            <c:errValType val="cust"/>
            <c:noEndCap val="0"/>
            <c:plus>
              <c:numRef>
                <c:f>'z-yaw'!$F$2:$F$8</c:f>
                <c:numCache>
                  <c:formatCode>General</c:formatCode>
                  <c:ptCount val="7"/>
                  <c:pt idx="0">
                    <c:v>4.9999999999999822E-2</c:v>
                  </c:pt>
                  <c:pt idx="1">
                    <c:v>0.10000000000000009</c:v>
                  </c:pt>
                  <c:pt idx="2">
                    <c:v>0.10000000000000009</c:v>
                  </c:pt>
                  <c:pt idx="3">
                    <c:v>5.0000000000000044E-2</c:v>
                  </c:pt>
                  <c:pt idx="4">
                    <c:v>9.9999999999999867E-2</c:v>
                  </c:pt>
                  <c:pt idx="5">
                    <c:v>0.10000000000000009</c:v>
                  </c:pt>
                  <c:pt idx="6">
                    <c:v>0</c:v>
                  </c:pt>
                </c:numCache>
              </c:numRef>
            </c:plus>
            <c:minus>
              <c:numRef>
                <c:f>'z-yaw'!$E$2:$E$8</c:f>
                <c:numCache>
                  <c:formatCode>General</c:formatCode>
                  <c:ptCount val="7"/>
                  <c:pt idx="0">
                    <c:v>5.0000000000000044E-2</c:v>
                  </c:pt>
                  <c:pt idx="1">
                    <c:v>9.9999999999999867E-2</c:v>
                  </c:pt>
                  <c:pt idx="2">
                    <c:v>9.9999999999999867E-2</c:v>
                  </c:pt>
                  <c:pt idx="3">
                    <c:v>4.9999999999999822E-2</c:v>
                  </c:pt>
                  <c:pt idx="4">
                    <c:v>0.19999999999999996</c:v>
                  </c:pt>
                  <c:pt idx="5">
                    <c:v>9.9999999999999978E-2</c:v>
                  </c:pt>
                  <c:pt idx="6">
                    <c:v>0</c:v>
                  </c:pt>
                </c:numCache>
              </c:numRef>
            </c:minus>
            <c:spPr>
              <a:noFill/>
              <a:ln w="9525" cap="flat" cmpd="sng" algn="ctr">
                <a:solidFill>
                  <a:schemeClr val="tx1">
                    <a:lumMod val="65000"/>
                    <a:lumOff val="35000"/>
                  </a:schemeClr>
                </a:solidFill>
                <a:round/>
              </a:ln>
              <a:effectLst/>
            </c:spPr>
          </c:errBars>
          <c:xVal>
            <c:numRef>
              <c:f>'z-yaw'!$A$2:$A$8</c:f>
              <c:numCache>
                <c:formatCode>General</c:formatCode>
                <c:ptCount val="7"/>
                <c:pt idx="0">
                  <c:v>180</c:v>
                </c:pt>
                <c:pt idx="1">
                  <c:v>120</c:v>
                </c:pt>
                <c:pt idx="2">
                  <c:v>90</c:v>
                </c:pt>
                <c:pt idx="3">
                  <c:v>60</c:v>
                </c:pt>
                <c:pt idx="4">
                  <c:v>45</c:v>
                </c:pt>
                <c:pt idx="5">
                  <c:v>30</c:v>
                </c:pt>
                <c:pt idx="6">
                  <c:v>0</c:v>
                </c:pt>
              </c:numCache>
            </c:numRef>
          </c:xVal>
          <c:yVal>
            <c:numRef>
              <c:f>'z-yaw'!$B$2:$B$8</c:f>
              <c:numCache>
                <c:formatCode>General</c:formatCode>
                <c:ptCount val="7"/>
                <c:pt idx="0">
                  <c:v>1.35</c:v>
                </c:pt>
                <c:pt idx="1">
                  <c:v>1.4</c:v>
                </c:pt>
                <c:pt idx="2">
                  <c:v>1.4</c:v>
                </c:pt>
                <c:pt idx="3">
                  <c:v>1.1499999999999999</c:v>
                </c:pt>
                <c:pt idx="4">
                  <c:v>1.3</c:v>
                </c:pt>
                <c:pt idx="5">
                  <c:v>1</c:v>
                </c:pt>
                <c:pt idx="6">
                  <c:v>0.6</c:v>
                </c:pt>
              </c:numCache>
            </c:numRef>
          </c:yVal>
          <c:smooth val="0"/>
          <c:extLst>
            <c:ext xmlns:c16="http://schemas.microsoft.com/office/drawing/2014/chart" uri="{C3380CC4-5D6E-409C-BE32-E72D297353CC}">
              <c16:uniqueId val="{00000000-8F27-45AD-8973-ED69DFF2F82D}"/>
            </c:ext>
          </c:extLst>
        </c:ser>
        <c:dLbls>
          <c:showLegendKey val="0"/>
          <c:showVal val="0"/>
          <c:showCatName val="0"/>
          <c:showSerName val="0"/>
          <c:showPercent val="0"/>
          <c:showBubbleSize val="0"/>
        </c:dLbls>
        <c:axId val="727697560"/>
        <c:axId val="727697888"/>
      </c:scatterChart>
      <c:valAx>
        <c:axId val="72769756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sz="1800" dirty="0" err="1"/>
                  <a:t>degree</a:t>
                </a:r>
                <a:r>
                  <a:rPr lang="sv-SE" sz="1800" baseline="0" dirty="0"/>
                  <a:t> </a:t>
                </a:r>
                <a:r>
                  <a:rPr lang="sv-SE" sz="1800" baseline="0" dirty="0" err="1"/>
                  <a:t>angle</a:t>
                </a:r>
                <a:r>
                  <a:rPr lang="sv-SE" sz="1800" baseline="0" dirty="0"/>
                  <a:t>, </a:t>
                </a:r>
                <a:r>
                  <a:rPr lang="sv-SE" sz="1800" baseline="0" dirty="0" err="1"/>
                  <a:t>measured</a:t>
                </a:r>
                <a:r>
                  <a:rPr lang="sv-SE" sz="1800" baseline="0" dirty="0"/>
                  <a:t> from </a:t>
                </a:r>
                <a:r>
                  <a:rPr lang="sv-SE" sz="1800" baseline="0" dirty="0" err="1"/>
                  <a:t>horizontal</a:t>
                </a:r>
                <a:r>
                  <a:rPr lang="sv-SE" sz="1800" baseline="0" dirty="0"/>
                  <a:t> plane</a:t>
                </a:r>
                <a:endParaRPr lang="sv-SE" sz="1800" dirty="0"/>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727697888"/>
        <c:crosses val="autoZero"/>
        <c:crossBetween val="midCat"/>
        <c:majorUnit val="30"/>
      </c:valAx>
      <c:valAx>
        <c:axId val="7276978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sv-SE" sz="1800" dirty="0" err="1"/>
                  <a:t>wind</a:t>
                </a:r>
                <a:r>
                  <a:rPr lang="sv-SE" sz="1800" baseline="0" dirty="0"/>
                  <a:t> z-</a:t>
                </a:r>
                <a:r>
                  <a:rPr lang="sv-SE" sz="1800" baseline="0" dirty="0" err="1"/>
                  <a:t>component</a:t>
                </a:r>
                <a:r>
                  <a:rPr lang="sv-SE" sz="1800" baseline="0" dirty="0"/>
                  <a:t> [m/s]</a:t>
                </a:r>
                <a:endParaRPr lang="sv-SE" sz="1800"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727697560"/>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sv-SE" sz="2000"/>
              <a:t>Effect of hand curvature</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lineChart>
        <c:grouping val="standard"/>
        <c:varyColors val="0"/>
        <c:ser>
          <c:idx val="0"/>
          <c:order val="0"/>
          <c:spPr>
            <a:ln w="28575" cap="rnd">
              <a:solidFill>
                <a:schemeClr val="accent1"/>
              </a:solidFill>
              <a:round/>
            </a:ln>
            <a:effectLst/>
          </c:spPr>
          <c:marker>
            <c:symbol val="diamond"/>
            <c:size val="5"/>
            <c:spPr>
              <a:solidFill>
                <a:schemeClr val="accent1"/>
              </a:solidFill>
              <a:ln w="9525">
                <a:solidFill>
                  <a:schemeClr val="accent1"/>
                </a:solidFill>
              </a:ln>
              <a:effectLst/>
            </c:spPr>
          </c:marker>
          <c:errBars>
            <c:errDir val="y"/>
            <c:errBarType val="both"/>
            <c:errValType val="cust"/>
            <c:noEndCap val="0"/>
            <c:plus>
              <c:numRef>
                <c:f>bend!$F$2:$F$4</c:f>
                <c:numCache>
                  <c:formatCode>General</c:formatCode>
                  <c:ptCount val="3"/>
                  <c:pt idx="0">
                    <c:v>0</c:v>
                  </c:pt>
                  <c:pt idx="1">
                    <c:v>0</c:v>
                  </c:pt>
                  <c:pt idx="2">
                    <c:v>4.9999999999999822E-2</c:v>
                  </c:pt>
                </c:numCache>
              </c:numRef>
            </c:plus>
            <c:minus>
              <c:numRef>
                <c:f>bend!$E$2:$E$4</c:f>
                <c:numCache>
                  <c:formatCode>General</c:formatCode>
                  <c:ptCount val="3"/>
                  <c:pt idx="0">
                    <c:v>0.10000000000000009</c:v>
                  </c:pt>
                  <c:pt idx="1">
                    <c:v>0.10000000000000009</c:v>
                  </c:pt>
                  <c:pt idx="2">
                    <c:v>5.0000000000000044E-2</c:v>
                  </c:pt>
                </c:numCache>
              </c:numRef>
            </c:minus>
            <c:spPr>
              <a:noFill/>
              <a:ln w="9525" cap="flat" cmpd="sng" algn="ctr">
                <a:solidFill>
                  <a:schemeClr val="tx1">
                    <a:lumMod val="65000"/>
                    <a:lumOff val="35000"/>
                  </a:schemeClr>
                </a:solidFill>
                <a:round/>
              </a:ln>
              <a:effectLst/>
            </c:spPr>
          </c:errBars>
          <c:cat>
            <c:strRef>
              <c:f>bend!$A$2:$A$4</c:f>
              <c:strCache>
                <c:ptCount val="3"/>
                <c:pt idx="0">
                  <c:v>Very bent</c:v>
                </c:pt>
                <c:pt idx="1">
                  <c:v>Medium bent</c:v>
                </c:pt>
                <c:pt idx="2">
                  <c:v>No bend (straight)</c:v>
                </c:pt>
              </c:strCache>
            </c:strRef>
          </c:cat>
          <c:val>
            <c:numRef>
              <c:f>bend!$B$2:$B$4</c:f>
              <c:numCache>
                <c:formatCode>General</c:formatCode>
                <c:ptCount val="3"/>
                <c:pt idx="0">
                  <c:v>1.5</c:v>
                </c:pt>
                <c:pt idx="1">
                  <c:v>1.6</c:v>
                </c:pt>
                <c:pt idx="2">
                  <c:v>1.35</c:v>
                </c:pt>
              </c:numCache>
            </c:numRef>
          </c:val>
          <c:smooth val="0"/>
          <c:extLst>
            <c:ext xmlns:c16="http://schemas.microsoft.com/office/drawing/2014/chart" uri="{C3380CC4-5D6E-409C-BE32-E72D297353CC}">
              <c16:uniqueId val="{00000000-1EBE-4606-970B-20A547CF65AE}"/>
            </c:ext>
          </c:extLst>
        </c:ser>
        <c:dLbls>
          <c:showLegendKey val="0"/>
          <c:showVal val="0"/>
          <c:showCatName val="0"/>
          <c:showSerName val="0"/>
          <c:showPercent val="0"/>
          <c:showBubbleSize val="0"/>
        </c:dLbls>
        <c:marker val="1"/>
        <c:smooth val="0"/>
        <c:axId val="494941408"/>
        <c:axId val="494939768"/>
      </c:lineChart>
      <c:catAx>
        <c:axId val="494941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494939768"/>
        <c:crosses val="autoZero"/>
        <c:auto val="1"/>
        <c:lblAlgn val="ctr"/>
        <c:lblOffset val="100"/>
        <c:noMultiLvlLbl val="0"/>
      </c:catAx>
      <c:valAx>
        <c:axId val="494939768"/>
        <c:scaling>
          <c:orientation val="minMax"/>
          <c:min val="1.2"/>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4949414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40E7E5-FC6C-4089-8BD0-FC6C8402F7B8}" type="datetimeFigureOut">
              <a:rPr lang="en-GB" smtClean="0"/>
              <a:t>25/06/2017</a:t>
            </a:fld>
            <a:endParaRPr lang="en-GB"/>
          </a:p>
        </p:txBody>
      </p:sp>
      <p:sp>
        <p:nvSpPr>
          <p:cNvPr id="4" name="Platshållare för bildobjekt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1C0DC1-4DDC-4353-9847-E945E0982E2A}" type="slidenum">
              <a:rPr lang="en-GB" smtClean="0"/>
              <a:t>‹#›</a:t>
            </a:fld>
            <a:endParaRPr lang="en-GB"/>
          </a:p>
        </p:txBody>
      </p:sp>
    </p:spTree>
    <p:extLst>
      <p:ext uri="{BB962C8B-B14F-4D97-AF65-F5344CB8AC3E}">
        <p14:creationId xmlns:p14="http://schemas.microsoft.com/office/powerpoint/2010/main" val="22478299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delimitation) Single type</a:t>
            </a:r>
            <a:r>
              <a:rPr lang="en-GB" baseline="0" dirty="0"/>
              <a:t> of airplane: the question is not asking us to design the optimal airplane, but to investigate the optimal way to use your hands to control the airplane</a:t>
            </a:r>
          </a:p>
          <a:p>
            <a:endParaRPr lang="en-GB" dirty="0"/>
          </a:p>
          <a:p>
            <a:r>
              <a:rPr lang="en-GB" dirty="0"/>
              <a:t>(delimitation) Flight only in calm air: it needs to be possible to fly at all</a:t>
            </a:r>
          </a:p>
          <a:p>
            <a:endParaRPr lang="en-GB" dirty="0"/>
          </a:p>
          <a:p>
            <a:r>
              <a:rPr lang="en-GB" dirty="0"/>
              <a:t>(simplification)</a:t>
            </a:r>
            <a:r>
              <a:rPr lang="en-GB" baseline="0" dirty="0"/>
              <a:t> Comparing hands with cardboard: cardboard easier to fly </a:t>
            </a:r>
            <a:r>
              <a:rPr lang="en-GB" baseline="0" dirty="0" err="1"/>
              <a:t>b.c.</a:t>
            </a:r>
            <a:r>
              <a:rPr lang="en-GB" baseline="0" dirty="0"/>
              <a:t> bigger surface area and easier to control</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8</a:t>
            </a:fld>
            <a:endParaRPr lang="en-GB"/>
          </a:p>
        </p:txBody>
      </p:sp>
    </p:spTree>
    <p:extLst>
      <p:ext uri="{BB962C8B-B14F-4D97-AF65-F5344CB8AC3E}">
        <p14:creationId xmlns:p14="http://schemas.microsoft.com/office/powerpoint/2010/main" val="16547867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Spreading fingers reduce updraft</a:t>
            </a:r>
          </a:p>
        </p:txBody>
      </p:sp>
      <p:sp>
        <p:nvSpPr>
          <p:cNvPr id="4" name="Platshållare för bildnummer 3"/>
          <p:cNvSpPr>
            <a:spLocks noGrp="1"/>
          </p:cNvSpPr>
          <p:nvPr>
            <p:ph type="sldNum" sz="quarter" idx="10"/>
          </p:nvPr>
        </p:nvSpPr>
        <p:spPr/>
        <p:txBody>
          <a:bodyPr/>
          <a:lstStyle/>
          <a:p>
            <a:fld id="{6D1C0DC1-4DDC-4353-9847-E945E0982E2A}" type="slidenum">
              <a:rPr lang="en-GB" smtClean="0"/>
              <a:t>26</a:t>
            </a:fld>
            <a:endParaRPr lang="en-GB"/>
          </a:p>
        </p:txBody>
      </p:sp>
    </p:spTree>
    <p:extLst>
      <p:ext uri="{BB962C8B-B14F-4D97-AF65-F5344CB8AC3E}">
        <p14:creationId xmlns:p14="http://schemas.microsoft.com/office/powerpoint/2010/main" val="39168611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The offset is</a:t>
            </a:r>
            <a:r>
              <a:rPr lang="en-GB" baseline="0" dirty="0"/>
              <a:t> the difference between how the probe used in </a:t>
            </a:r>
            <a:r>
              <a:rPr lang="en-GB" baseline="0" dirty="0" err="1"/>
              <a:t>Comsol</a:t>
            </a:r>
            <a:r>
              <a:rPr lang="en-GB" baseline="0" dirty="0"/>
              <a:t> works and how the Anemometer works</a:t>
            </a:r>
          </a:p>
          <a:p>
            <a:endParaRPr lang="en-GB" baseline="0" dirty="0"/>
          </a:p>
          <a:p>
            <a:r>
              <a:rPr lang="en-GB" baseline="0" dirty="0" err="1"/>
              <a:t>Comsol</a:t>
            </a:r>
            <a:r>
              <a:rPr lang="en-GB" baseline="0" dirty="0"/>
              <a:t> plots is the z-component like before. Measured </a:t>
            </a:r>
            <a:r>
              <a:rPr lang="en-GB" baseline="0" dirty="0" err="1"/>
              <a:t>comsol</a:t>
            </a:r>
            <a:r>
              <a:rPr lang="en-GB" baseline="0" dirty="0"/>
              <a:t> value is the maximum </a:t>
            </a:r>
            <a:r>
              <a:rPr lang="en-GB" baseline="0" dirty="0" err="1"/>
              <a:t>comsol</a:t>
            </a:r>
            <a:r>
              <a:rPr lang="en-GB" baseline="0" dirty="0"/>
              <a:t> speed</a:t>
            </a:r>
          </a:p>
          <a:p>
            <a:endParaRPr lang="en-GB" baseline="0" dirty="0"/>
          </a:p>
          <a:p>
            <a:r>
              <a:rPr lang="en-GB" baseline="0" dirty="0"/>
              <a:t>Hand moved forward to keep fingertips at the back of the anemometer: picture is misleading</a:t>
            </a:r>
          </a:p>
          <a:p>
            <a:endParaRPr lang="en-GB" baseline="0" dirty="0"/>
          </a:p>
          <a:p>
            <a:r>
              <a:rPr lang="en-GB" baseline="0" dirty="0"/>
              <a:t>Conclusion: 30 </a:t>
            </a:r>
            <a:r>
              <a:rPr lang="en-GB" baseline="0" dirty="0" err="1"/>
              <a:t>deg</a:t>
            </a:r>
            <a:r>
              <a:rPr lang="en-GB" baseline="0" dirty="0"/>
              <a:t> angle</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27</a:t>
            </a:fld>
            <a:endParaRPr lang="en-GB"/>
          </a:p>
        </p:txBody>
      </p:sp>
    </p:spTree>
    <p:extLst>
      <p:ext uri="{BB962C8B-B14F-4D97-AF65-F5344CB8AC3E}">
        <p14:creationId xmlns:p14="http://schemas.microsoft.com/office/powerpoint/2010/main" val="2731771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Peak</a:t>
            </a:r>
            <a:r>
              <a:rPr lang="en-GB" baseline="0" dirty="0"/>
              <a:t> at 45 </a:t>
            </a:r>
            <a:r>
              <a:rPr lang="en-GB" baseline="0" dirty="0" err="1"/>
              <a:t>deg</a:t>
            </a:r>
            <a:r>
              <a:rPr lang="en-GB" baseline="0" dirty="0"/>
              <a:t>, measurement error, correct value should be 1,1 by re-measurement</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28</a:t>
            </a:fld>
            <a:endParaRPr lang="en-GB"/>
          </a:p>
        </p:txBody>
      </p:sp>
    </p:spTree>
    <p:extLst>
      <p:ext uri="{BB962C8B-B14F-4D97-AF65-F5344CB8AC3E}">
        <p14:creationId xmlns:p14="http://schemas.microsoft.com/office/powerpoint/2010/main" val="10168221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Not very well defined, but hard to</a:t>
            </a:r>
            <a:r>
              <a:rPr lang="en-GB" baseline="0" dirty="0"/>
              <a:t> define and hard to define if you’re going to give recommendations to people</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29</a:t>
            </a:fld>
            <a:endParaRPr lang="en-GB"/>
          </a:p>
        </p:txBody>
      </p:sp>
    </p:spTree>
    <p:extLst>
      <p:ext uri="{BB962C8B-B14F-4D97-AF65-F5344CB8AC3E}">
        <p14:creationId xmlns:p14="http://schemas.microsoft.com/office/powerpoint/2010/main" val="3046358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Glider</a:t>
            </a:r>
            <a:r>
              <a:rPr lang="sv-SE" baseline="0" dirty="0"/>
              <a:t> </a:t>
            </a:r>
            <a:r>
              <a:rPr lang="sv-SE" baseline="0" dirty="0" err="1"/>
              <a:t>always</a:t>
            </a:r>
            <a:r>
              <a:rPr lang="sv-SE" baseline="0" dirty="0"/>
              <a:t> has to sink relative to the air </a:t>
            </a:r>
            <a:r>
              <a:rPr lang="sv-SE" baseline="0" dirty="0" err="1"/>
              <a:t>body</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12</a:t>
            </a:fld>
            <a:endParaRPr lang="en-GB"/>
          </a:p>
        </p:txBody>
      </p:sp>
    </p:spTree>
    <p:extLst>
      <p:ext uri="{BB962C8B-B14F-4D97-AF65-F5344CB8AC3E}">
        <p14:creationId xmlns:p14="http://schemas.microsoft.com/office/powerpoint/2010/main" val="3640149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Glider</a:t>
            </a:r>
            <a:r>
              <a:rPr lang="sv-SE" baseline="0" dirty="0"/>
              <a:t> </a:t>
            </a:r>
            <a:r>
              <a:rPr lang="sv-SE" baseline="0" dirty="0" err="1"/>
              <a:t>always</a:t>
            </a:r>
            <a:r>
              <a:rPr lang="sv-SE" baseline="0" dirty="0"/>
              <a:t> has to sink relative to the air </a:t>
            </a:r>
            <a:r>
              <a:rPr lang="sv-SE" baseline="0" dirty="0" err="1"/>
              <a:t>body</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13</a:t>
            </a:fld>
            <a:endParaRPr lang="en-GB"/>
          </a:p>
        </p:txBody>
      </p:sp>
    </p:spTree>
    <p:extLst>
      <p:ext uri="{BB962C8B-B14F-4D97-AF65-F5344CB8AC3E}">
        <p14:creationId xmlns:p14="http://schemas.microsoft.com/office/powerpoint/2010/main" val="4240044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To </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15</a:t>
            </a:fld>
            <a:endParaRPr lang="en-GB"/>
          </a:p>
        </p:txBody>
      </p:sp>
    </p:spTree>
    <p:extLst>
      <p:ext uri="{BB962C8B-B14F-4D97-AF65-F5344CB8AC3E}">
        <p14:creationId xmlns:p14="http://schemas.microsoft.com/office/powerpoint/2010/main" val="2571166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err="1"/>
              <a:t>Naivier</a:t>
            </a:r>
            <a:r>
              <a:rPr lang="en-GB" dirty="0"/>
              <a:t>-Stokes solver</a:t>
            </a:r>
          </a:p>
        </p:txBody>
      </p:sp>
      <p:sp>
        <p:nvSpPr>
          <p:cNvPr id="4" name="Platshållare för bildnummer 3"/>
          <p:cNvSpPr>
            <a:spLocks noGrp="1"/>
          </p:cNvSpPr>
          <p:nvPr>
            <p:ph type="sldNum" sz="quarter" idx="10"/>
          </p:nvPr>
        </p:nvSpPr>
        <p:spPr/>
        <p:txBody>
          <a:bodyPr/>
          <a:lstStyle/>
          <a:p>
            <a:fld id="{6D1C0DC1-4DDC-4353-9847-E945E0982E2A}" type="slidenum">
              <a:rPr lang="en-GB" smtClean="0"/>
              <a:t>16</a:t>
            </a:fld>
            <a:endParaRPr lang="en-GB"/>
          </a:p>
        </p:txBody>
      </p:sp>
    </p:spTree>
    <p:extLst>
      <p:ext uri="{BB962C8B-B14F-4D97-AF65-F5344CB8AC3E}">
        <p14:creationId xmlns:p14="http://schemas.microsoft.com/office/powerpoint/2010/main" val="2201251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17</a:t>
            </a:fld>
            <a:endParaRPr lang="en-GB"/>
          </a:p>
        </p:txBody>
      </p:sp>
    </p:spTree>
    <p:extLst>
      <p:ext uri="{BB962C8B-B14F-4D97-AF65-F5344CB8AC3E}">
        <p14:creationId xmlns:p14="http://schemas.microsoft.com/office/powerpoint/2010/main" val="4105780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This</a:t>
            </a:r>
            <a:r>
              <a:rPr lang="en-GB" baseline="0" dirty="0"/>
              <a:t> zone is what allows us to control the flight of the aircraft, by controlling the direction of lifting force on the aircraft</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18</a:t>
            </a:fld>
            <a:endParaRPr lang="en-GB"/>
          </a:p>
        </p:txBody>
      </p:sp>
    </p:spTree>
    <p:extLst>
      <p:ext uri="{BB962C8B-B14F-4D97-AF65-F5344CB8AC3E}">
        <p14:creationId xmlns:p14="http://schemas.microsoft.com/office/powerpoint/2010/main" val="3630006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Force of lift deflected</a:t>
            </a:r>
            <a:r>
              <a:rPr lang="en-GB" baseline="0" dirty="0"/>
              <a:t> from vertical direction, gets horizontal component, causes plane to move in an arc</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20</a:t>
            </a:fld>
            <a:endParaRPr lang="en-GB"/>
          </a:p>
        </p:txBody>
      </p:sp>
    </p:spTree>
    <p:extLst>
      <p:ext uri="{BB962C8B-B14F-4D97-AF65-F5344CB8AC3E}">
        <p14:creationId xmlns:p14="http://schemas.microsoft.com/office/powerpoint/2010/main" val="27636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We’re not saying it’s definitely the best, but</a:t>
            </a:r>
            <a:r>
              <a:rPr lang="en-GB" baseline="0" dirty="0"/>
              <a:t> we decided to use our time on this configuration</a:t>
            </a:r>
            <a:endParaRPr lang="en-GB" dirty="0"/>
          </a:p>
        </p:txBody>
      </p:sp>
      <p:sp>
        <p:nvSpPr>
          <p:cNvPr id="4" name="Platshållare för bildnummer 3"/>
          <p:cNvSpPr>
            <a:spLocks noGrp="1"/>
          </p:cNvSpPr>
          <p:nvPr>
            <p:ph type="sldNum" sz="quarter" idx="10"/>
          </p:nvPr>
        </p:nvSpPr>
        <p:spPr/>
        <p:txBody>
          <a:bodyPr/>
          <a:lstStyle/>
          <a:p>
            <a:fld id="{6D1C0DC1-4DDC-4353-9847-E945E0982E2A}" type="slidenum">
              <a:rPr lang="en-GB" smtClean="0"/>
              <a:t>25</a:t>
            </a:fld>
            <a:endParaRPr lang="en-GB"/>
          </a:p>
        </p:txBody>
      </p:sp>
    </p:spTree>
    <p:extLst>
      <p:ext uri="{BB962C8B-B14F-4D97-AF65-F5344CB8AC3E}">
        <p14:creationId xmlns:p14="http://schemas.microsoft.com/office/powerpoint/2010/main" val="1437631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762667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2" name="think-cell Slide" r:id="rId4" imgW="270" imgH="270" progId="TCLayout.ActiveDocument.1">
                  <p:embed/>
                </p:oleObj>
              </mc:Choice>
              <mc:Fallback>
                <p:oleObj name="think-cell Slid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bwMode="gray">
          <a:xfrm>
            <a:off x="0" y="3613150"/>
            <a:ext cx="9144000" cy="32448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en-GB" dirty="0"/>
          </a:p>
        </p:txBody>
      </p:sp>
      <p:pic>
        <p:nvPicPr>
          <p:cNvPr id="1026" name="Picture 2" descr="http://intra.kth.se/polopoly_fs/1.383275!/image/KTH_pngs.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0900830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Anpassad layout">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dirty="0"/>
          </a:p>
        </p:txBody>
      </p:sp>
      <p:sp>
        <p:nvSpPr>
          <p:cNvPr id="8"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r>
              <a:rPr lang="sv-SE"/>
              <a:t>International physicist’s tournament 2017</a:t>
            </a:r>
            <a:endParaRPr lang="en-GB"/>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0A5BB9CA-7E98-491A-8EA1-ABE7E829D232}" type="slidenum">
              <a:rPr lang="en-GB" smtClean="0"/>
              <a:t>‹#›</a:t>
            </a:fld>
            <a:endParaRPr lang="en-GB"/>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r>
              <a:rPr lang="en-GB"/>
              <a:t>KTH IPT Team</a:t>
            </a:r>
          </a:p>
        </p:txBody>
      </p:sp>
    </p:spTree>
    <p:extLst>
      <p:ext uri="{BB962C8B-B14F-4D97-AF65-F5344CB8AC3E}">
        <p14:creationId xmlns:p14="http://schemas.microsoft.com/office/powerpoint/2010/main" val="4103086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Rubrikbild">
    <p:spTree>
      <p:nvGrpSpPr>
        <p:cNvPr id="1" name=""/>
        <p:cNvGrpSpPr/>
        <p:nvPr/>
      </p:nvGrpSpPr>
      <p:grpSpPr>
        <a:xfrm>
          <a:off x="0" y="0"/>
          <a:ext cx="0" cy="0"/>
          <a:chOff x="0" y="0"/>
          <a:chExt cx="0" cy="0"/>
        </a:xfrm>
      </p:grpSpPr>
      <p:sp>
        <p:nvSpPr>
          <p:cNvPr id="14" name="Rektangel 13"/>
          <p:cNvSpPr/>
          <p:nvPr/>
        </p:nvSpPr>
        <p:spPr bwMode="gray">
          <a:xfrm>
            <a:off x="0" y="3613150"/>
            <a:ext cx="9144000" cy="32448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en-GB" dirty="0"/>
          </a:p>
        </p:txBody>
      </p:sp>
      <p:pic>
        <p:nvPicPr>
          <p:cNvPr id="1026" name="Picture 2" descr="http://intra.kth.se/polopoly_fs/1.383275!/image/KTH_png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18031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7" name="Platshållare för innehåll 2"/>
          <p:cNvSpPr>
            <a:spLocks noGrp="1"/>
          </p:cNvSpPr>
          <p:nvPr>
            <p:ph idx="1"/>
          </p:nvPr>
        </p:nvSpPr>
        <p:spPr>
          <a:xfrm>
            <a:off x="1619250" y="1582739"/>
            <a:ext cx="6935788" cy="4078286"/>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r>
              <a:rPr lang="sv-SE"/>
              <a:t>International physicist’s tournament 2017</a:t>
            </a:r>
            <a:endParaRPr lang="en-GB"/>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0A5BB9CA-7E98-491A-8EA1-ABE7E829D232}" type="slidenum">
              <a:rPr lang="en-GB" smtClean="0"/>
              <a:t>‹#›</a:t>
            </a:fld>
            <a:endParaRPr lang="en-GB"/>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en-GB"/>
              <a:t>KTH IPT Team</a:t>
            </a:r>
          </a:p>
        </p:txBody>
      </p:sp>
    </p:spTree>
    <p:extLst>
      <p:ext uri="{BB962C8B-B14F-4D97-AF65-F5344CB8AC3E}">
        <p14:creationId xmlns:p14="http://schemas.microsoft.com/office/powerpoint/2010/main" val="2316404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sv-SE"/>
              <a:t>Klicka på ikonen för att lägga till en bild</a:t>
            </a:r>
            <a:endParaRPr lang="en-GB"/>
          </a:p>
        </p:txBody>
      </p:sp>
      <p:sp>
        <p:nvSpPr>
          <p:cNvPr id="8"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International physicist’s tournament 2017</a:t>
            </a:r>
            <a:endParaRPr lang="en-GB"/>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0A5BB9CA-7E98-491A-8EA1-ABE7E829D232}" type="slidenum">
              <a:rPr lang="en-GB" smtClean="0"/>
              <a:t>‹#›</a:t>
            </a:fld>
            <a:endParaRPr lang="en-GB"/>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en-GB"/>
              <a:t>KTH IPT Team</a:t>
            </a:r>
          </a:p>
        </p:txBody>
      </p:sp>
    </p:spTree>
    <p:extLst>
      <p:ext uri="{BB962C8B-B14F-4D97-AF65-F5344CB8AC3E}">
        <p14:creationId xmlns:p14="http://schemas.microsoft.com/office/powerpoint/2010/main" val="19844140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sv-SE"/>
              <a:t>Klicka på ikonen för att lägga till ett diagram</a:t>
            </a:r>
            <a:endParaRPr lang="en-GB"/>
          </a:p>
        </p:txBody>
      </p:sp>
      <p:sp>
        <p:nvSpPr>
          <p:cNvPr id="9"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r>
              <a:rPr lang="sv-SE"/>
              <a:t>International physicist’s tournament 2017</a:t>
            </a:r>
            <a:endParaRPr lang="en-GB"/>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0A5BB9CA-7E98-491A-8EA1-ABE7E829D232}" type="slidenum">
              <a:rPr lang="en-GB" smtClean="0"/>
              <a:t>‹#›</a:t>
            </a:fld>
            <a:endParaRPr lang="en-GB"/>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en-GB"/>
              <a:t>KTH IPT Team</a:t>
            </a:r>
          </a:p>
        </p:txBody>
      </p:sp>
    </p:spTree>
    <p:extLst>
      <p:ext uri="{BB962C8B-B14F-4D97-AF65-F5344CB8AC3E}">
        <p14:creationId xmlns:p14="http://schemas.microsoft.com/office/powerpoint/2010/main" val="296602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sv-SE"/>
              <a:t>Klicka på ikonen för att lägga till en bild</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sv-SE"/>
              <a:t>Klicka på ikonen för att lägga till en bild</a:t>
            </a:r>
            <a:endParaRPr lang="en-GB" dirty="0"/>
          </a:p>
        </p:txBody>
      </p:sp>
      <p:sp>
        <p:nvSpPr>
          <p:cNvPr id="10"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r>
              <a:rPr lang="sv-SE"/>
              <a:t>International physicist’s tournament 2017</a:t>
            </a:r>
            <a:endParaRPr lang="en-GB"/>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0A5BB9CA-7E98-491A-8EA1-ABE7E829D232}" type="slidenum">
              <a:rPr lang="en-GB" smtClean="0"/>
              <a:t>‹#›</a:t>
            </a:fld>
            <a:endParaRPr lang="en-GB"/>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en-GB"/>
              <a:t>KTH IPT Team</a:t>
            </a:r>
          </a:p>
        </p:txBody>
      </p:sp>
    </p:spTree>
    <p:extLst>
      <p:ext uri="{BB962C8B-B14F-4D97-AF65-F5344CB8AC3E}">
        <p14:creationId xmlns:p14="http://schemas.microsoft.com/office/powerpoint/2010/main" val="23475421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sv-SE"/>
              <a:t>Klicka på ikonen för att lägga till en bild</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International physicist’s tournament 2017</a:t>
            </a:r>
            <a:endParaRPr lang="en-GB"/>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0A5BB9CA-7E98-491A-8EA1-ABE7E829D232}" type="slidenum">
              <a:rPr lang="en-GB" smtClean="0"/>
              <a:t>‹#›</a:t>
            </a:fld>
            <a:endParaRPr lang="en-GB"/>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en-GB"/>
              <a:t>KTH IPT Team</a:t>
            </a:r>
          </a:p>
        </p:txBody>
      </p:sp>
    </p:spTree>
    <p:extLst>
      <p:ext uri="{BB962C8B-B14F-4D97-AF65-F5344CB8AC3E}">
        <p14:creationId xmlns:p14="http://schemas.microsoft.com/office/powerpoint/2010/main" val="1719738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sv-SE"/>
              <a:t>Klicka på ikonen för att lägga till en bild</a:t>
            </a:r>
            <a:endParaRPr lang="en-GB" dirty="0"/>
          </a:p>
        </p:txBody>
      </p:sp>
      <p:sp>
        <p:nvSpPr>
          <p:cNvPr id="7" name="Rubrik 1"/>
          <p:cNvSpPr>
            <a:spLocks noGrp="1"/>
          </p:cNvSpPr>
          <p:nvPr>
            <p:ph type="title"/>
          </p:nvPr>
        </p:nvSpPr>
        <p:spPr>
          <a:xfrm>
            <a:off x="1619250" y="404870"/>
            <a:ext cx="6935788" cy="668338"/>
          </a:xfrm>
        </p:spPr>
        <p:txBody>
          <a:bodyPr/>
          <a:lstStyle/>
          <a:p>
            <a:r>
              <a:rPr lang="sv-SE"/>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r>
              <a:rPr lang="sv-SE"/>
              <a:t>International physicist’s tournament 2017</a:t>
            </a:r>
            <a:endParaRPr lang="en-GB"/>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0A5BB9CA-7E98-491A-8EA1-ABE7E829D232}" type="slidenum">
              <a:rPr lang="en-GB" smtClean="0"/>
              <a:t>‹#›</a:t>
            </a:fld>
            <a:endParaRPr lang="en-GB"/>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en-GB"/>
              <a:t>KTH IPT Team</a:t>
            </a:r>
          </a:p>
        </p:txBody>
      </p:sp>
    </p:spTree>
    <p:extLst>
      <p:ext uri="{BB962C8B-B14F-4D97-AF65-F5344CB8AC3E}">
        <p14:creationId xmlns:p14="http://schemas.microsoft.com/office/powerpoint/2010/main" val="17992529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r>
              <a:rPr lang="sv-SE"/>
              <a:t>International physicist’s tournament 2017</a:t>
            </a:r>
            <a:endParaRPr lang="en-GB"/>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0A5BB9CA-7E98-491A-8EA1-ABE7E829D232}" type="slidenum">
              <a:rPr lang="en-GB" smtClean="0"/>
              <a:t>‹#›</a:t>
            </a:fld>
            <a:endParaRPr lang="en-GB"/>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r>
              <a:rPr lang="en-GB"/>
              <a:t>KTH IPT Team</a:t>
            </a:r>
          </a:p>
        </p:txBody>
      </p:sp>
    </p:spTree>
    <p:extLst>
      <p:ext uri="{BB962C8B-B14F-4D97-AF65-F5344CB8AC3E}">
        <p14:creationId xmlns:p14="http://schemas.microsoft.com/office/powerpoint/2010/main" val="17124403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r>
              <a:rPr lang="en-GB"/>
              <a:t>KTH IPT Team</a:t>
            </a:r>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fld id="{0A5BB9CA-7E98-491A-8EA1-ABE7E829D232}" type="slidenum">
              <a:rPr lang="en-GB" smtClean="0"/>
              <a:t>‹#›</a:t>
            </a:fld>
            <a:endParaRPr lang="en-GB"/>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r>
              <a:rPr lang="sv-SE"/>
              <a:t>International physicist’s tournament 2017</a:t>
            </a:r>
            <a:endParaRPr lang="en-GB"/>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rgbClr val="629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0611694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hf hdr="0"/>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www.grc.nasa.gov/WWW/k-12/airplane/move4.htm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www.grc.nasa.gov/WWW/k-12/airplane/move4.html"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www.sciencetoymaker.org/" TargetMode="External"/><Relationship Id="rId2" Type="http://schemas.openxmlformats.org/officeDocument/2006/relationships/image" Target="../media/image6.JP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en-GB" dirty="0"/>
              <a:t>1. Handy glider</a:t>
            </a:r>
          </a:p>
        </p:txBody>
      </p:sp>
      <p:sp>
        <p:nvSpPr>
          <p:cNvPr id="5" name="Underrubrik 4"/>
          <p:cNvSpPr>
            <a:spLocks noGrp="1"/>
          </p:cNvSpPr>
          <p:nvPr>
            <p:ph type="subTitle" idx="1"/>
          </p:nvPr>
        </p:nvSpPr>
        <p:spPr/>
        <p:txBody>
          <a:bodyPr/>
          <a:lstStyle/>
          <a:p>
            <a:r>
              <a:rPr lang="en-GB" dirty="0"/>
              <a:t>KTH Royal Institute of Technology, Sweden</a:t>
            </a:r>
          </a:p>
          <a:p>
            <a:r>
              <a:rPr lang="en-GB" dirty="0"/>
              <a:t>International Physicist’s Tournament 2017</a:t>
            </a:r>
          </a:p>
          <a:p>
            <a:endParaRPr lang="en-GB" dirty="0"/>
          </a:p>
        </p:txBody>
      </p:sp>
      <p:pic>
        <p:nvPicPr>
          <p:cNvPr id="6" name="Bildobjekt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74479" y="742760"/>
            <a:ext cx="800101" cy="500063"/>
          </a:xfrm>
          <a:prstGeom prst="rect">
            <a:avLst/>
          </a:prstGeom>
        </p:spPr>
      </p:pic>
    </p:spTree>
    <p:extLst>
      <p:ext uri="{BB962C8B-B14F-4D97-AF65-F5344CB8AC3E}">
        <p14:creationId xmlns:p14="http://schemas.microsoft.com/office/powerpoint/2010/main" val="19766418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latshållare för bild 3"/>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169" r="2169"/>
          <a:stretch>
            <a:fillRect/>
          </a:stretch>
        </p:blipFill>
        <p:spPr/>
      </p:pic>
      <p:sp>
        <p:nvSpPr>
          <p:cNvPr id="3" name="Rubrik 2"/>
          <p:cNvSpPr>
            <a:spLocks noGrp="1"/>
          </p:cNvSpPr>
          <p:nvPr>
            <p:ph type="title"/>
          </p:nvPr>
        </p:nvSpPr>
        <p:spPr/>
        <p:txBody>
          <a:bodyPr/>
          <a:lstStyle/>
          <a:p>
            <a:r>
              <a:rPr lang="en-GB" dirty="0"/>
              <a:t>Description of aircraft</a:t>
            </a:r>
            <a:r>
              <a:rPr lang="sv-SE" dirty="0"/>
              <a:t>: </a:t>
            </a:r>
            <a:r>
              <a:rPr lang="sv-SE" dirty="0" err="1"/>
              <a:t>size</a:t>
            </a:r>
            <a:r>
              <a:rPr lang="sv-SE" dirty="0"/>
              <a:t> </a:t>
            </a:r>
            <a:r>
              <a:rPr lang="sv-SE" dirty="0" err="1"/>
              <a:t>comparison</a:t>
            </a:r>
            <a:r>
              <a:rPr lang="sv-SE" dirty="0"/>
              <a:t> to hand</a:t>
            </a:r>
            <a:endParaRPr lang="en-GB" dirty="0"/>
          </a:p>
        </p:txBody>
      </p:sp>
      <p:sp>
        <p:nvSpPr>
          <p:cNvPr id="2" name="Platshållare för datum 1"/>
          <p:cNvSpPr>
            <a:spLocks noGrp="1"/>
          </p:cNvSpPr>
          <p:nvPr>
            <p:ph type="dt" sz="half" idx="10"/>
          </p:nvPr>
        </p:nvSpPr>
        <p:spPr/>
        <p:txBody>
          <a:bodyPr/>
          <a:lstStyle/>
          <a:p>
            <a:r>
              <a:rPr lang="sv-SE"/>
              <a:t>International physicist’s tournament 2017</a:t>
            </a:r>
            <a:endParaRPr lang="en-GB"/>
          </a:p>
        </p:txBody>
      </p:sp>
      <p:sp>
        <p:nvSpPr>
          <p:cNvPr id="5" name="Platshållare för sidfot 4"/>
          <p:cNvSpPr>
            <a:spLocks noGrp="1"/>
          </p:cNvSpPr>
          <p:nvPr>
            <p:ph type="ftr" sz="quarter" idx="11"/>
          </p:nvPr>
        </p:nvSpPr>
        <p:spPr/>
        <p:txBody>
          <a:bodyPr/>
          <a:lstStyle/>
          <a:p>
            <a:r>
              <a:rPr lang="en-GB"/>
              <a:t>KTH IPT Team</a:t>
            </a:r>
          </a:p>
        </p:txBody>
      </p:sp>
      <p:sp>
        <p:nvSpPr>
          <p:cNvPr id="6" name="Platshållare för bildnummer 5"/>
          <p:cNvSpPr>
            <a:spLocks noGrp="1"/>
          </p:cNvSpPr>
          <p:nvPr>
            <p:ph type="sldNum" sz="quarter" idx="12"/>
          </p:nvPr>
        </p:nvSpPr>
        <p:spPr/>
        <p:txBody>
          <a:bodyPr/>
          <a:lstStyle/>
          <a:p>
            <a:fld id="{0A5BB9CA-7E98-491A-8EA1-ABE7E829D232}" type="slidenum">
              <a:rPr lang="en-GB" smtClean="0"/>
              <a:t>10</a:t>
            </a:fld>
            <a:endParaRPr lang="en-GB"/>
          </a:p>
        </p:txBody>
      </p:sp>
    </p:spTree>
    <p:extLst>
      <p:ext uri="{BB962C8B-B14F-4D97-AF65-F5344CB8AC3E}">
        <p14:creationId xmlns:p14="http://schemas.microsoft.com/office/powerpoint/2010/main" val="36273651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a:lstStyle/>
          <a:p>
            <a:r>
              <a:rPr lang="en-GB" dirty="0"/>
              <a:t>Flight basics</a:t>
            </a:r>
          </a:p>
        </p:txBody>
      </p:sp>
      <p:sp>
        <p:nvSpPr>
          <p:cNvPr id="8" name="Rektangel 7"/>
          <p:cNvSpPr/>
          <p:nvPr/>
        </p:nvSpPr>
        <p:spPr>
          <a:xfrm>
            <a:off x="1619250" y="1690255"/>
            <a:ext cx="4627418" cy="232756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2" name="Pil: sparr 11"/>
          <p:cNvSpPr/>
          <p:nvPr/>
        </p:nvSpPr>
        <p:spPr>
          <a:xfrm>
            <a:off x="2690668" y="2318328"/>
            <a:ext cx="775855" cy="1071418"/>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cxnSp>
        <p:nvCxnSpPr>
          <p:cNvPr id="19" name="Rak pilkoppling 18"/>
          <p:cNvCxnSpPr/>
          <p:nvPr/>
        </p:nvCxnSpPr>
        <p:spPr>
          <a:xfrm>
            <a:off x="6246668" y="2854037"/>
            <a:ext cx="905164"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Rak pilkoppling 22"/>
          <p:cNvCxnSpPr/>
          <p:nvPr/>
        </p:nvCxnSpPr>
        <p:spPr>
          <a:xfrm>
            <a:off x="3260436" y="2854037"/>
            <a:ext cx="200429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textruta 26"/>
          <p:cNvSpPr txBox="1"/>
          <p:nvPr/>
        </p:nvSpPr>
        <p:spPr>
          <a:xfrm>
            <a:off x="5264727" y="1285766"/>
            <a:ext cx="1730086" cy="369332"/>
          </a:xfrm>
          <a:prstGeom prst="rect">
            <a:avLst/>
          </a:prstGeom>
          <a:noFill/>
        </p:spPr>
        <p:txBody>
          <a:bodyPr wrap="square" rtlCol="0">
            <a:spAutoFit/>
          </a:bodyPr>
          <a:lstStyle/>
          <a:p>
            <a:r>
              <a:rPr lang="sv-SE" dirty="0"/>
              <a:t>air </a:t>
            </a:r>
            <a:r>
              <a:rPr lang="sv-SE" dirty="0" err="1"/>
              <a:t>body</a:t>
            </a:r>
            <a:endParaRPr lang="en-GB" dirty="0"/>
          </a:p>
        </p:txBody>
      </p:sp>
      <p:sp>
        <p:nvSpPr>
          <p:cNvPr id="28" name="textruta 27"/>
          <p:cNvSpPr txBox="1"/>
          <p:nvPr/>
        </p:nvSpPr>
        <p:spPr>
          <a:xfrm>
            <a:off x="2532495" y="1902754"/>
            <a:ext cx="1730086" cy="369332"/>
          </a:xfrm>
          <a:prstGeom prst="rect">
            <a:avLst/>
          </a:prstGeom>
          <a:noFill/>
        </p:spPr>
        <p:txBody>
          <a:bodyPr wrap="square" rtlCol="0">
            <a:spAutoFit/>
          </a:bodyPr>
          <a:lstStyle/>
          <a:p>
            <a:r>
              <a:rPr lang="sv-SE" dirty="0"/>
              <a:t>glider</a:t>
            </a:r>
            <a:endParaRPr lang="en-GB" dirty="0"/>
          </a:p>
        </p:txBody>
      </p:sp>
      <p:cxnSp>
        <p:nvCxnSpPr>
          <p:cNvPr id="29" name="Rak pilkoppling 28"/>
          <p:cNvCxnSpPr/>
          <p:nvPr/>
        </p:nvCxnSpPr>
        <p:spPr>
          <a:xfrm>
            <a:off x="1836592" y="4849093"/>
            <a:ext cx="1099127"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Rak pilkoppling 29"/>
          <p:cNvCxnSpPr/>
          <p:nvPr/>
        </p:nvCxnSpPr>
        <p:spPr>
          <a:xfrm>
            <a:off x="1836592" y="4645893"/>
            <a:ext cx="200429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Rak pilkoppling 30"/>
          <p:cNvCxnSpPr/>
          <p:nvPr/>
        </p:nvCxnSpPr>
        <p:spPr>
          <a:xfrm>
            <a:off x="2935719" y="4849092"/>
            <a:ext cx="905164"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3" name="textruta 32"/>
          <p:cNvSpPr txBox="1"/>
          <p:nvPr/>
        </p:nvSpPr>
        <p:spPr>
          <a:xfrm>
            <a:off x="4181980" y="2087635"/>
            <a:ext cx="1810327" cy="646331"/>
          </a:xfrm>
          <a:prstGeom prst="rect">
            <a:avLst/>
          </a:prstGeom>
          <a:noFill/>
        </p:spPr>
        <p:txBody>
          <a:bodyPr wrap="square" rtlCol="0">
            <a:spAutoFit/>
          </a:bodyPr>
          <a:lstStyle/>
          <a:p>
            <a:r>
              <a:rPr lang="sv-SE" dirty="0">
                <a:solidFill>
                  <a:schemeClr val="accent1"/>
                </a:solidFill>
              </a:rPr>
              <a:t>absolute glider </a:t>
            </a:r>
            <a:r>
              <a:rPr lang="sv-SE" dirty="0" err="1">
                <a:solidFill>
                  <a:schemeClr val="accent1"/>
                </a:solidFill>
              </a:rPr>
              <a:t>velocity</a:t>
            </a:r>
            <a:endParaRPr lang="en-GB" dirty="0">
              <a:solidFill>
                <a:schemeClr val="accent1"/>
              </a:solidFill>
            </a:endParaRPr>
          </a:p>
        </p:txBody>
      </p:sp>
      <p:sp>
        <p:nvSpPr>
          <p:cNvPr id="34" name="textruta 33"/>
          <p:cNvSpPr txBox="1"/>
          <p:nvPr/>
        </p:nvSpPr>
        <p:spPr>
          <a:xfrm>
            <a:off x="6412922" y="2087420"/>
            <a:ext cx="1810327" cy="646331"/>
          </a:xfrm>
          <a:prstGeom prst="rect">
            <a:avLst/>
          </a:prstGeom>
          <a:noFill/>
        </p:spPr>
        <p:txBody>
          <a:bodyPr wrap="square" rtlCol="0">
            <a:spAutoFit/>
          </a:bodyPr>
          <a:lstStyle/>
          <a:p>
            <a:r>
              <a:rPr lang="sv-SE" dirty="0">
                <a:solidFill>
                  <a:srgbClr val="FF0000"/>
                </a:solidFill>
              </a:rPr>
              <a:t>absolute air </a:t>
            </a:r>
            <a:r>
              <a:rPr lang="sv-SE" dirty="0" err="1">
                <a:solidFill>
                  <a:srgbClr val="FF0000"/>
                </a:solidFill>
              </a:rPr>
              <a:t>body</a:t>
            </a:r>
            <a:r>
              <a:rPr lang="sv-SE" dirty="0">
                <a:solidFill>
                  <a:srgbClr val="FF0000"/>
                </a:solidFill>
              </a:rPr>
              <a:t> </a:t>
            </a:r>
            <a:r>
              <a:rPr lang="sv-SE" dirty="0" err="1">
                <a:solidFill>
                  <a:srgbClr val="FF0000"/>
                </a:solidFill>
              </a:rPr>
              <a:t>velocity</a:t>
            </a:r>
            <a:endParaRPr lang="en-GB" dirty="0">
              <a:solidFill>
                <a:srgbClr val="FF0000"/>
              </a:solidFill>
            </a:endParaRPr>
          </a:p>
        </p:txBody>
      </p:sp>
      <p:sp>
        <p:nvSpPr>
          <p:cNvPr id="35" name="textruta 34"/>
          <p:cNvSpPr txBox="1"/>
          <p:nvPr/>
        </p:nvSpPr>
        <p:spPr>
          <a:xfrm>
            <a:off x="1701656" y="5166723"/>
            <a:ext cx="6853382" cy="369332"/>
          </a:xfrm>
          <a:prstGeom prst="rect">
            <a:avLst/>
          </a:prstGeom>
          <a:noFill/>
        </p:spPr>
        <p:txBody>
          <a:bodyPr wrap="square" rtlCol="0">
            <a:spAutoFit/>
          </a:bodyPr>
          <a:lstStyle/>
          <a:p>
            <a:r>
              <a:rPr lang="sv-SE" dirty="0" err="1">
                <a:solidFill>
                  <a:srgbClr val="FFC000"/>
                </a:solidFill>
              </a:rPr>
              <a:t>airspeed</a:t>
            </a:r>
            <a:r>
              <a:rPr lang="sv-SE" dirty="0">
                <a:solidFill>
                  <a:srgbClr val="FFC000"/>
                </a:solidFill>
              </a:rPr>
              <a:t> </a:t>
            </a:r>
            <a:r>
              <a:rPr lang="sv-SE" dirty="0"/>
              <a:t>= </a:t>
            </a:r>
            <a:r>
              <a:rPr lang="sv-SE" dirty="0">
                <a:solidFill>
                  <a:schemeClr val="accent1"/>
                </a:solidFill>
              </a:rPr>
              <a:t>absolute glider </a:t>
            </a:r>
            <a:r>
              <a:rPr lang="sv-SE" dirty="0" err="1">
                <a:solidFill>
                  <a:schemeClr val="accent1"/>
                </a:solidFill>
              </a:rPr>
              <a:t>velocity</a:t>
            </a:r>
            <a:r>
              <a:rPr lang="sv-SE" dirty="0">
                <a:solidFill>
                  <a:schemeClr val="accent1"/>
                </a:solidFill>
              </a:rPr>
              <a:t> </a:t>
            </a:r>
            <a:r>
              <a:rPr lang="sv-SE" dirty="0"/>
              <a:t>– </a:t>
            </a:r>
            <a:r>
              <a:rPr lang="sv-SE" dirty="0">
                <a:solidFill>
                  <a:srgbClr val="FF0000"/>
                </a:solidFill>
              </a:rPr>
              <a:t>absolute air </a:t>
            </a:r>
            <a:r>
              <a:rPr lang="sv-SE" dirty="0" err="1">
                <a:solidFill>
                  <a:srgbClr val="FF0000"/>
                </a:solidFill>
              </a:rPr>
              <a:t>velocity</a:t>
            </a:r>
            <a:endParaRPr lang="en-GB" dirty="0">
              <a:solidFill>
                <a:srgbClr val="FF0000"/>
              </a:solidFill>
            </a:endParaRPr>
          </a:p>
        </p:txBody>
      </p:sp>
      <p:cxnSp>
        <p:nvCxnSpPr>
          <p:cNvPr id="36" name="Rak pilkoppling 35"/>
          <p:cNvCxnSpPr/>
          <p:nvPr/>
        </p:nvCxnSpPr>
        <p:spPr>
          <a:xfrm>
            <a:off x="3260436" y="3001947"/>
            <a:ext cx="1099127"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37" name="textruta 36"/>
          <p:cNvSpPr txBox="1"/>
          <p:nvPr/>
        </p:nvSpPr>
        <p:spPr>
          <a:xfrm>
            <a:off x="3614305" y="3001947"/>
            <a:ext cx="1810327" cy="369332"/>
          </a:xfrm>
          <a:prstGeom prst="rect">
            <a:avLst/>
          </a:prstGeom>
          <a:noFill/>
        </p:spPr>
        <p:txBody>
          <a:bodyPr wrap="square" rtlCol="0">
            <a:spAutoFit/>
          </a:bodyPr>
          <a:lstStyle/>
          <a:p>
            <a:r>
              <a:rPr lang="sv-SE" dirty="0" err="1">
                <a:solidFill>
                  <a:srgbClr val="FFC000"/>
                </a:solidFill>
              </a:rPr>
              <a:t>airspeed</a:t>
            </a:r>
            <a:endParaRPr lang="en-GB" dirty="0">
              <a:solidFill>
                <a:srgbClr val="FFC000"/>
              </a:solidFill>
            </a:endParaRPr>
          </a:p>
        </p:txBody>
      </p:sp>
      <p:sp>
        <p:nvSpPr>
          <p:cNvPr id="2" name="Platshållare för datum 1"/>
          <p:cNvSpPr>
            <a:spLocks noGrp="1"/>
          </p:cNvSpPr>
          <p:nvPr>
            <p:ph type="dt" sz="half" idx="10"/>
          </p:nvPr>
        </p:nvSpPr>
        <p:spPr/>
        <p:txBody>
          <a:bodyPr/>
          <a:lstStyle/>
          <a:p>
            <a:r>
              <a:rPr lang="sv-SE"/>
              <a:t>International physicist’s tournament 2017</a:t>
            </a:r>
            <a:endParaRPr lang="en-GB"/>
          </a:p>
        </p:txBody>
      </p:sp>
      <p:sp>
        <p:nvSpPr>
          <p:cNvPr id="3" name="Platshållare för sidfot 2"/>
          <p:cNvSpPr>
            <a:spLocks noGrp="1"/>
          </p:cNvSpPr>
          <p:nvPr>
            <p:ph type="ftr" sz="quarter" idx="11"/>
          </p:nvPr>
        </p:nvSpPr>
        <p:spPr/>
        <p:txBody>
          <a:bodyPr/>
          <a:lstStyle/>
          <a:p>
            <a:r>
              <a:rPr lang="en-GB"/>
              <a:t>KTH IPT Team</a:t>
            </a:r>
          </a:p>
        </p:txBody>
      </p:sp>
      <p:sp>
        <p:nvSpPr>
          <p:cNvPr id="4" name="Platshållare för bildnummer 3"/>
          <p:cNvSpPr>
            <a:spLocks noGrp="1"/>
          </p:cNvSpPr>
          <p:nvPr>
            <p:ph type="sldNum" sz="quarter" idx="12"/>
          </p:nvPr>
        </p:nvSpPr>
        <p:spPr/>
        <p:txBody>
          <a:bodyPr/>
          <a:lstStyle/>
          <a:p>
            <a:fld id="{0A5BB9CA-7E98-491A-8EA1-ABE7E829D232}" type="slidenum">
              <a:rPr lang="en-GB" smtClean="0"/>
              <a:t>11</a:t>
            </a:fld>
            <a:endParaRPr lang="en-GB"/>
          </a:p>
        </p:txBody>
      </p:sp>
    </p:spTree>
    <p:extLst>
      <p:ext uri="{BB962C8B-B14F-4D97-AF65-F5344CB8AC3E}">
        <p14:creationId xmlns:p14="http://schemas.microsoft.com/office/powerpoint/2010/main" val="2998025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a:lstStyle/>
          <a:p>
            <a:r>
              <a:rPr lang="en-GB" dirty="0"/>
              <a:t>Flight basics</a:t>
            </a:r>
          </a:p>
        </p:txBody>
      </p:sp>
      <p:sp>
        <p:nvSpPr>
          <p:cNvPr id="6" name="Platshållare för innehåll 5"/>
          <p:cNvSpPr>
            <a:spLocks noGrp="1"/>
          </p:cNvSpPr>
          <p:nvPr>
            <p:ph idx="1"/>
          </p:nvPr>
        </p:nvSpPr>
        <p:spPr>
          <a:xfrm>
            <a:off x="1976582" y="1582739"/>
            <a:ext cx="3029527" cy="4078286"/>
          </a:xfrm>
          <a:ln>
            <a:solidFill>
              <a:schemeClr val="bg1">
                <a:lumMod val="75000"/>
              </a:schemeClr>
            </a:solidFill>
            <a:prstDash val="sysDot"/>
          </a:ln>
        </p:spPr>
        <p:txBody>
          <a:bodyPr/>
          <a:lstStyle/>
          <a:p>
            <a:r>
              <a:rPr lang="sv-SE" dirty="0"/>
              <a:t> </a:t>
            </a:r>
            <a:endParaRPr lang="en-GB" dirty="0"/>
          </a:p>
        </p:txBody>
      </p:sp>
      <p:sp>
        <p:nvSpPr>
          <p:cNvPr id="12" name="Pil: sparr 11"/>
          <p:cNvSpPr/>
          <p:nvPr/>
        </p:nvSpPr>
        <p:spPr>
          <a:xfrm>
            <a:off x="2432087" y="3281362"/>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14" name="Rak pilkoppling 13"/>
          <p:cNvCxnSpPr/>
          <p:nvPr/>
        </p:nvCxnSpPr>
        <p:spPr>
          <a:xfrm>
            <a:off x="2699939" y="3466089"/>
            <a:ext cx="9237" cy="609601"/>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Rak pilkoppling 2"/>
          <p:cNvCxnSpPr/>
          <p:nvPr/>
        </p:nvCxnSpPr>
        <p:spPr>
          <a:xfrm flipV="1">
            <a:off x="1413164" y="1582739"/>
            <a:ext cx="0" cy="4078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ruta 3"/>
          <p:cNvSpPr txBox="1"/>
          <p:nvPr/>
        </p:nvSpPr>
        <p:spPr>
          <a:xfrm>
            <a:off x="951499" y="1582739"/>
            <a:ext cx="461665" cy="4078286"/>
          </a:xfrm>
          <a:prstGeom prst="rect">
            <a:avLst/>
          </a:prstGeom>
          <a:noFill/>
        </p:spPr>
        <p:txBody>
          <a:bodyPr vert="vert270" wrap="square" rtlCol="0">
            <a:spAutoFit/>
          </a:bodyPr>
          <a:lstStyle/>
          <a:p>
            <a:r>
              <a:rPr lang="sv-SE" dirty="0" err="1"/>
              <a:t>Vertical</a:t>
            </a:r>
            <a:r>
              <a:rPr lang="sv-SE" dirty="0"/>
              <a:t> </a:t>
            </a:r>
            <a:r>
              <a:rPr lang="sv-SE" dirty="0" err="1"/>
              <a:t>direction</a:t>
            </a:r>
            <a:endParaRPr lang="en-GB" dirty="0"/>
          </a:p>
        </p:txBody>
      </p:sp>
      <p:sp>
        <p:nvSpPr>
          <p:cNvPr id="10" name="Pil: sparr 9"/>
          <p:cNvSpPr/>
          <p:nvPr/>
        </p:nvSpPr>
        <p:spPr>
          <a:xfrm>
            <a:off x="3606800" y="4269653"/>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5" name="Pil: sparr 14"/>
          <p:cNvSpPr/>
          <p:nvPr/>
        </p:nvSpPr>
        <p:spPr>
          <a:xfrm>
            <a:off x="6080917" y="3281362"/>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16" name="Rak pilkoppling 15"/>
          <p:cNvCxnSpPr/>
          <p:nvPr/>
        </p:nvCxnSpPr>
        <p:spPr>
          <a:xfrm>
            <a:off x="6348769" y="3466089"/>
            <a:ext cx="9237" cy="609601"/>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7" name="Pil: sparr 16"/>
          <p:cNvSpPr/>
          <p:nvPr/>
        </p:nvSpPr>
        <p:spPr>
          <a:xfrm>
            <a:off x="7464062" y="2302308"/>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11" name="Rak pilkoppling 10"/>
          <p:cNvCxnSpPr/>
          <p:nvPr/>
        </p:nvCxnSpPr>
        <p:spPr>
          <a:xfrm flipV="1">
            <a:off x="6358006" y="2782599"/>
            <a:ext cx="0" cy="68349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Rak pilkoppling 21"/>
          <p:cNvCxnSpPr/>
          <p:nvPr/>
        </p:nvCxnSpPr>
        <p:spPr>
          <a:xfrm flipV="1">
            <a:off x="7718061" y="1794309"/>
            <a:ext cx="0" cy="68349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Rak pilkoppling 23"/>
          <p:cNvCxnSpPr/>
          <p:nvPr/>
        </p:nvCxnSpPr>
        <p:spPr>
          <a:xfrm flipV="1">
            <a:off x="6617853" y="2782599"/>
            <a:ext cx="0" cy="129309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Rak pilkoppling 27"/>
          <p:cNvCxnSpPr/>
          <p:nvPr/>
        </p:nvCxnSpPr>
        <p:spPr>
          <a:xfrm flipV="1">
            <a:off x="6765633" y="2782599"/>
            <a:ext cx="535709" cy="498763"/>
          </a:xfrm>
          <a:prstGeom prst="straightConnector1">
            <a:avLst/>
          </a:prstGeom>
          <a:ln>
            <a:solidFill>
              <a:schemeClr val="bg1">
                <a:lumMod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9" name="Rak pilkoppling 28"/>
          <p:cNvCxnSpPr/>
          <p:nvPr/>
        </p:nvCxnSpPr>
        <p:spPr>
          <a:xfrm>
            <a:off x="2986265" y="3715470"/>
            <a:ext cx="471668" cy="397164"/>
          </a:xfrm>
          <a:prstGeom prst="straightConnector1">
            <a:avLst/>
          </a:prstGeom>
          <a:ln>
            <a:solidFill>
              <a:schemeClr val="bg1">
                <a:lumMod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1" name="Platshållare för innehåll 5"/>
          <p:cNvSpPr txBox="1">
            <a:spLocks/>
          </p:cNvSpPr>
          <p:nvPr/>
        </p:nvSpPr>
        <p:spPr>
          <a:xfrm>
            <a:off x="5525511" y="1580646"/>
            <a:ext cx="3029527" cy="4078286"/>
          </a:xfrm>
          <a:prstGeom prst="rect">
            <a:avLst/>
          </a:prstGeom>
          <a:ln>
            <a:solidFill>
              <a:schemeClr val="bg1">
                <a:lumMod val="75000"/>
              </a:schemeClr>
            </a:solidFill>
            <a:prstDash val="sysDot"/>
          </a:ln>
        </p:spPr>
        <p:txBody>
          <a:bodyPr vert="horz" lIns="0" tIns="0" rIns="0" bIns="0" rtlCol="0">
            <a:normAutofit/>
          </a:bodyPr>
          <a:lst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a:t> </a:t>
            </a:r>
            <a:endParaRPr lang="en-GB" dirty="0"/>
          </a:p>
        </p:txBody>
      </p:sp>
      <p:sp>
        <p:nvSpPr>
          <p:cNvPr id="32" name="textruta 31"/>
          <p:cNvSpPr txBox="1"/>
          <p:nvPr/>
        </p:nvSpPr>
        <p:spPr>
          <a:xfrm>
            <a:off x="1976581" y="5287239"/>
            <a:ext cx="2290618" cy="369332"/>
          </a:xfrm>
          <a:prstGeom prst="rect">
            <a:avLst/>
          </a:prstGeom>
          <a:noFill/>
        </p:spPr>
        <p:txBody>
          <a:bodyPr wrap="square" rtlCol="0">
            <a:spAutoFit/>
          </a:bodyPr>
          <a:lstStyle/>
          <a:p>
            <a:r>
              <a:rPr lang="sv-SE" dirty="0"/>
              <a:t>Still air</a:t>
            </a:r>
            <a:endParaRPr lang="en-GB" dirty="0"/>
          </a:p>
        </p:txBody>
      </p:sp>
      <p:sp>
        <p:nvSpPr>
          <p:cNvPr id="33" name="textruta 32"/>
          <p:cNvSpPr txBox="1"/>
          <p:nvPr/>
        </p:nvSpPr>
        <p:spPr>
          <a:xfrm>
            <a:off x="5525510" y="5287239"/>
            <a:ext cx="2290618" cy="369332"/>
          </a:xfrm>
          <a:prstGeom prst="rect">
            <a:avLst/>
          </a:prstGeom>
          <a:noFill/>
        </p:spPr>
        <p:txBody>
          <a:bodyPr wrap="square" rtlCol="0">
            <a:spAutoFit/>
          </a:bodyPr>
          <a:lstStyle/>
          <a:p>
            <a:r>
              <a:rPr lang="sv-SE" dirty="0" err="1"/>
              <a:t>Updraft</a:t>
            </a:r>
            <a:endParaRPr lang="en-GB" dirty="0"/>
          </a:p>
        </p:txBody>
      </p:sp>
      <p:sp>
        <p:nvSpPr>
          <p:cNvPr id="2" name="Platshållare för datum 1"/>
          <p:cNvSpPr>
            <a:spLocks noGrp="1"/>
          </p:cNvSpPr>
          <p:nvPr>
            <p:ph type="dt" sz="half" idx="10"/>
          </p:nvPr>
        </p:nvSpPr>
        <p:spPr/>
        <p:txBody>
          <a:bodyPr/>
          <a:lstStyle/>
          <a:p>
            <a:r>
              <a:rPr lang="sv-SE"/>
              <a:t>International physicist’s tournament 2017</a:t>
            </a:r>
            <a:endParaRPr lang="en-GB"/>
          </a:p>
        </p:txBody>
      </p:sp>
      <p:sp>
        <p:nvSpPr>
          <p:cNvPr id="7" name="Platshållare för sidfot 6"/>
          <p:cNvSpPr>
            <a:spLocks noGrp="1"/>
          </p:cNvSpPr>
          <p:nvPr>
            <p:ph type="ftr" sz="quarter" idx="11"/>
          </p:nvPr>
        </p:nvSpPr>
        <p:spPr/>
        <p:txBody>
          <a:bodyPr/>
          <a:lstStyle/>
          <a:p>
            <a:r>
              <a:rPr lang="en-GB"/>
              <a:t>KTH IPT Team</a:t>
            </a:r>
          </a:p>
        </p:txBody>
      </p:sp>
      <p:sp>
        <p:nvSpPr>
          <p:cNvPr id="8" name="Platshållare för bildnummer 7"/>
          <p:cNvSpPr>
            <a:spLocks noGrp="1"/>
          </p:cNvSpPr>
          <p:nvPr>
            <p:ph type="sldNum" sz="quarter" idx="12"/>
          </p:nvPr>
        </p:nvSpPr>
        <p:spPr/>
        <p:txBody>
          <a:bodyPr/>
          <a:lstStyle/>
          <a:p>
            <a:fld id="{0A5BB9CA-7E98-491A-8EA1-ABE7E829D232}" type="slidenum">
              <a:rPr lang="en-GB" smtClean="0"/>
              <a:t>12</a:t>
            </a:fld>
            <a:endParaRPr lang="en-GB"/>
          </a:p>
        </p:txBody>
      </p:sp>
      <p:sp>
        <p:nvSpPr>
          <p:cNvPr id="9" name="textruta 8"/>
          <p:cNvSpPr txBox="1"/>
          <p:nvPr/>
        </p:nvSpPr>
        <p:spPr>
          <a:xfrm>
            <a:off x="4502723" y="393103"/>
            <a:ext cx="4525819" cy="738664"/>
          </a:xfrm>
          <a:prstGeom prst="rect">
            <a:avLst/>
          </a:prstGeom>
          <a:noFill/>
        </p:spPr>
        <p:txBody>
          <a:bodyPr wrap="square" rtlCol="0">
            <a:spAutoFit/>
          </a:bodyPr>
          <a:lstStyle/>
          <a:p>
            <a:r>
              <a:rPr lang="en-GB" sz="1400" dirty="0"/>
              <a:t>Based on Updrafts and Downdrafts, NASA Glenn Research </a:t>
            </a:r>
            <a:r>
              <a:rPr lang="en-GB" sz="1400" dirty="0" err="1"/>
              <a:t>Center</a:t>
            </a:r>
            <a:r>
              <a:rPr lang="en-GB" sz="1400" dirty="0"/>
              <a:t> </a:t>
            </a:r>
            <a:r>
              <a:rPr lang="en-GB" sz="1400" dirty="0">
                <a:hlinkClick r:id="rId3"/>
              </a:rPr>
              <a:t>https://www.grc.nasa.gov/WWW/k-12/airplane/move4.html</a:t>
            </a:r>
            <a:endParaRPr lang="en-GB" sz="1400" dirty="0"/>
          </a:p>
        </p:txBody>
      </p:sp>
      <p:cxnSp>
        <p:nvCxnSpPr>
          <p:cNvPr id="27" name="Rak pilkoppling 26"/>
          <p:cNvCxnSpPr/>
          <p:nvPr/>
        </p:nvCxnSpPr>
        <p:spPr>
          <a:xfrm>
            <a:off x="2829861" y="3466089"/>
            <a:ext cx="9237" cy="60960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Rak pilkoppling 29"/>
          <p:cNvCxnSpPr/>
          <p:nvPr/>
        </p:nvCxnSpPr>
        <p:spPr>
          <a:xfrm>
            <a:off x="3865417" y="4472907"/>
            <a:ext cx="9237" cy="60960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6656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ubrik 4"/>
          <p:cNvSpPr>
            <a:spLocks noGrp="1"/>
          </p:cNvSpPr>
          <p:nvPr>
            <p:ph type="title"/>
          </p:nvPr>
        </p:nvSpPr>
        <p:spPr/>
        <p:txBody>
          <a:bodyPr/>
          <a:lstStyle/>
          <a:p>
            <a:r>
              <a:rPr lang="en-GB" dirty="0"/>
              <a:t>Flight basics</a:t>
            </a:r>
          </a:p>
        </p:txBody>
      </p:sp>
      <p:sp>
        <p:nvSpPr>
          <p:cNvPr id="6" name="Platshållare för innehåll 5"/>
          <p:cNvSpPr>
            <a:spLocks noGrp="1"/>
          </p:cNvSpPr>
          <p:nvPr>
            <p:ph idx="1"/>
          </p:nvPr>
        </p:nvSpPr>
        <p:spPr>
          <a:xfrm>
            <a:off x="1976582" y="1582739"/>
            <a:ext cx="3029527" cy="4078286"/>
          </a:xfrm>
          <a:ln>
            <a:solidFill>
              <a:schemeClr val="bg1">
                <a:lumMod val="75000"/>
              </a:schemeClr>
            </a:solidFill>
            <a:prstDash val="sysDot"/>
          </a:ln>
        </p:spPr>
        <p:txBody>
          <a:bodyPr/>
          <a:lstStyle/>
          <a:p>
            <a:r>
              <a:rPr lang="sv-SE" dirty="0"/>
              <a:t> </a:t>
            </a:r>
            <a:endParaRPr lang="en-GB" dirty="0"/>
          </a:p>
        </p:txBody>
      </p:sp>
      <p:sp>
        <p:nvSpPr>
          <p:cNvPr id="12" name="Pil: sparr 11"/>
          <p:cNvSpPr/>
          <p:nvPr/>
        </p:nvSpPr>
        <p:spPr>
          <a:xfrm>
            <a:off x="2432087" y="3281362"/>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14" name="Rak pilkoppling 13"/>
          <p:cNvCxnSpPr/>
          <p:nvPr/>
        </p:nvCxnSpPr>
        <p:spPr>
          <a:xfrm>
            <a:off x="2699939" y="3466089"/>
            <a:ext cx="9237" cy="609601"/>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Rak pilkoppling 2"/>
          <p:cNvCxnSpPr/>
          <p:nvPr/>
        </p:nvCxnSpPr>
        <p:spPr>
          <a:xfrm flipV="1">
            <a:off x="1413164" y="1582739"/>
            <a:ext cx="0" cy="4078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ruta 3"/>
          <p:cNvSpPr txBox="1"/>
          <p:nvPr/>
        </p:nvSpPr>
        <p:spPr>
          <a:xfrm>
            <a:off x="951499" y="1582739"/>
            <a:ext cx="461665" cy="4078286"/>
          </a:xfrm>
          <a:prstGeom prst="rect">
            <a:avLst/>
          </a:prstGeom>
          <a:noFill/>
        </p:spPr>
        <p:txBody>
          <a:bodyPr vert="vert270" wrap="square" rtlCol="0">
            <a:spAutoFit/>
          </a:bodyPr>
          <a:lstStyle/>
          <a:p>
            <a:r>
              <a:rPr lang="sv-SE" dirty="0" err="1"/>
              <a:t>Vertical</a:t>
            </a:r>
            <a:r>
              <a:rPr lang="sv-SE" dirty="0"/>
              <a:t> </a:t>
            </a:r>
            <a:r>
              <a:rPr lang="sv-SE" dirty="0" err="1"/>
              <a:t>direction</a:t>
            </a:r>
            <a:endParaRPr lang="en-GB" dirty="0"/>
          </a:p>
        </p:txBody>
      </p:sp>
      <p:sp>
        <p:nvSpPr>
          <p:cNvPr id="10" name="Pil: sparr 9"/>
          <p:cNvSpPr/>
          <p:nvPr/>
        </p:nvSpPr>
        <p:spPr>
          <a:xfrm>
            <a:off x="3606800" y="4269653"/>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13" name="Rak pilkoppling 12"/>
          <p:cNvCxnSpPr/>
          <p:nvPr/>
        </p:nvCxnSpPr>
        <p:spPr>
          <a:xfrm>
            <a:off x="3879272" y="4454380"/>
            <a:ext cx="9237" cy="609601"/>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5" name="Pil: sparr 14"/>
          <p:cNvSpPr/>
          <p:nvPr/>
        </p:nvSpPr>
        <p:spPr>
          <a:xfrm>
            <a:off x="6080917" y="3281362"/>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16" name="Rak pilkoppling 15"/>
          <p:cNvCxnSpPr/>
          <p:nvPr/>
        </p:nvCxnSpPr>
        <p:spPr>
          <a:xfrm>
            <a:off x="6348769" y="3466089"/>
            <a:ext cx="9237" cy="609601"/>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7" name="Pil: sparr 16"/>
          <p:cNvSpPr/>
          <p:nvPr/>
        </p:nvSpPr>
        <p:spPr>
          <a:xfrm>
            <a:off x="7464062" y="2302308"/>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cxnSp>
        <p:nvCxnSpPr>
          <p:cNvPr id="18" name="Rak pilkoppling 17"/>
          <p:cNvCxnSpPr/>
          <p:nvPr/>
        </p:nvCxnSpPr>
        <p:spPr>
          <a:xfrm>
            <a:off x="7718061" y="2477799"/>
            <a:ext cx="9237" cy="609601"/>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Rak pilkoppling 10"/>
          <p:cNvCxnSpPr/>
          <p:nvPr/>
        </p:nvCxnSpPr>
        <p:spPr>
          <a:xfrm flipV="1">
            <a:off x="6358006" y="2782599"/>
            <a:ext cx="0" cy="68349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Rak pilkoppling 21"/>
          <p:cNvCxnSpPr/>
          <p:nvPr/>
        </p:nvCxnSpPr>
        <p:spPr>
          <a:xfrm flipV="1">
            <a:off x="7718061" y="1794309"/>
            <a:ext cx="0" cy="68349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Rak pilkoppling 23"/>
          <p:cNvCxnSpPr/>
          <p:nvPr/>
        </p:nvCxnSpPr>
        <p:spPr>
          <a:xfrm flipV="1">
            <a:off x="6617853" y="2782599"/>
            <a:ext cx="0" cy="129309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ak pilkoppling 25"/>
          <p:cNvCxnSpPr/>
          <p:nvPr/>
        </p:nvCxnSpPr>
        <p:spPr>
          <a:xfrm flipV="1">
            <a:off x="8012542" y="1794309"/>
            <a:ext cx="0" cy="129309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Rak pilkoppling 27"/>
          <p:cNvCxnSpPr/>
          <p:nvPr/>
        </p:nvCxnSpPr>
        <p:spPr>
          <a:xfrm flipV="1">
            <a:off x="6765633" y="2782599"/>
            <a:ext cx="535709" cy="498763"/>
          </a:xfrm>
          <a:prstGeom prst="straightConnector1">
            <a:avLst/>
          </a:prstGeom>
          <a:ln>
            <a:solidFill>
              <a:schemeClr val="bg1">
                <a:lumMod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9" name="Rak pilkoppling 28"/>
          <p:cNvCxnSpPr/>
          <p:nvPr/>
        </p:nvCxnSpPr>
        <p:spPr>
          <a:xfrm>
            <a:off x="2986265" y="3715470"/>
            <a:ext cx="471668" cy="397164"/>
          </a:xfrm>
          <a:prstGeom prst="straightConnector1">
            <a:avLst/>
          </a:prstGeom>
          <a:ln>
            <a:solidFill>
              <a:schemeClr val="bg1">
                <a:lumMod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1" name="Platshållare för innehåll 5"/>
          <p:cNvSpPr txBox="1">
            <a:spLocks/>
          </p:cNvSpPr>
          <p:nvPr/>
        </p:nvSpPr>
        <p:spPr>
          <a:xfrm>
            <a:off x="5525511" y="1580646"/>
            <a:ext cx="3029527" cy="4078286"/>
          </a:xfrm>
          <a:prstGeom prst="rect">
            <a:avLst/>
          </a:prstGeom>
          <a:ln>
            <a:solidFill>
              <a:schemeClr val="bg1">
                <a:lumMod val="75000"/>
              </a:schemeClr>
            </a:solidFill>
            <a:prstDash val="sysDot"/>
          </a:ln>
        </p:spPr>
        <p:txBody>
          <a:bodyPr vert="horz" lIns="0" tIns="0" rIns="0" bIns="0" rtlCol="0">
            <a:normAutofit/>
          </a:bodyPr>
          <a:lst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a:t> </a:t>
            </a:r>
            <a:endParaRPr lang="en-GB" dirty="0"/>
          </a:p>
        </p:txBody>
      </p:sp>
      <p:sp>
        <p:nvSpPr>
          <p:cNvPr id="32" name="textruta 31"/>
          <p:cNvSpPr txBox="1"/>
          <p:nvPr/>
        </p:nvSpPr>
        <p:spPr>
          <a:xfrm>
            <a:off x="1976581" y="5287239"/>
            <a:ext cx="2290618" cy="369332"/>
          </a:xfrm>
          <a:prstGeom prst="rect">
            <a:avLst/>
          </a:prstGeom>
          <a:noFill/>
        </p:spPr>
        <p:txBody>
          <a:bodyPr wrap="square" rtlCol="0">
            <a:spAutoFit/>
          </a:bodyPr>
          <a:lstStyle/>
          <a:p>
            <a:r>
              <a:rPr lang="sv-SE" dirty="0"/>
              <a:t>Still air</a:t>
            </a:r>
            <a:endParaRPr lang="en-GB" dirty="0"/>
          </a:p>
        </p:txBody>
      </p:sp>
      <p:sp>
        <p:nvSpPr>
          <p:cNvPr id="33" name="textruta 32"/>
          <p:cNvSpPr txBox="1"/>
          <p:nvPr/>
        </p:nvSpPr>
        <p:spPr>
          <a:xfrm>
            <a:off x="5525510" y="5287239"/>
            <a:ext cx="2290618" cy="369332"/>
          </a:xfrm>
          <a:prstGeom prst="rect">
            <a:avLst/>
          </a:prstGeom>
          <a:noFill/>
        </p:spPr>
        <p:txBody>
          <a:bodyPr wrap="square" rtlCol="0">
            <a:spAutoFit/>
          </a:bodyPr>
          <a:lstStyle/>
          <a:p>
            <a:r>
              <a:rPr lang="sv-SE" dirty="0" err="1"/>
              <a:t>Updraft</a:t>
            </a:r>
            <a:endParaRPr lang="en-GB" dirty="0"/>
          </a:p>
        </p:txBody>
      </p:sp>
      <p:sp>
        <p:nvSpPr>
          <p:cNvPr id="2" name="Platshållare för datum 1"/>
          <p:cNvSpPr>
            <a:spLocks noGrp="1"/>
          </p:cNvSpPr>
          <p:nvPr>
            <p:ph type="dt" sz="half" idx="10"/>
          </p:nvPr>
        </p:nvSpPr>
        <p:spPr/>
        <p:txBody>
          <a:bodyPr/>
          <a:lstStyle/>
          <a:p>
            <a:r>
              <a:rPr lang="sv-SE"/>
              <a:t>International physicist’s tournament 2017</a:t>
            </a:r>
            <a:endParaRPr lang="en-GB"/>
          </a:p>
        </p:txBody>
      </p:sp>
      <p:sp>
        <p:nvSpPr>
          <p:cNvPr id="7" name="Platshållare för sidfot 6"/>
          <p:cNvSpPr>
            <a:spLocks noGrp="1"/>
          </p:cNvSpPr>
          <p:nvPr>
            <p:ph type="ftr" sz="quarter" idx="11"/>
          </p:nvPr>
        </p:nvSpPr>
        <p:spPr/>
        <p:txBody>
          <a:bodyPr/>
          <a:lstStyle/>
          <a:p>
            <a:r>
              <a:rPr lang="en-GB"/>
              <a:t>KTH IPT Team</a:t>
            </a:r>
          </a:p>
        </p:txBody>
      </p:sp>
      <p:sp>
        <p:nvSpPr>
          <p:cNvPr id="8" name="Platshållare för bildnummer 7"/>
          <p:cNvSpPr>
            <a:spLocks noGrp="1"/>
          </p:cNvSpPr>
          <p:nvPr>
            <p:ph type="sldNum" sz="quarter" idx="12"/>
          </p:nvPr>
        </p:nvSpPr>
        <p:spPr/>
        <p:txBody>
          <a:bodyPr/>
          <a:lstStyle/>
          <a:p>
            <a:fld id="{0A5BB9CA-7E98-491A-8EA1-ABE7E829D232}" type="slidenum">
              <a:rPr lang="en-GB" smtClean="0"/>
              <a:t>13</a:t>
            </a:fld>
            <a:endParaRPr lang="en-GB"/>
          </a:p>
        </p:txBody>
      </p:sp>
      <p:sp>
        <p:nvSpPr>
          <p:cNvPr id="9" name="textruta 8"/>
          <p:cNvSpPr txBox="1"/>
          <p:nvPr/>
        </p:nvSpPr>
        <p:spPr>
          <a:xfrm>
            <a:off x="4502723" y="393103"/>
            <a:ext cx="4525819" cy="738664"/>
          </a:xfrm>
          <a:prstGeom prst="rect">
            <a:avLst/>
          </a:prstGeom>
          <a:noFill/>
        </p:spPr>
        <p:txBody>
          <a:bodyPr wrap="square" rtlCol="0">
            <a:spAutoFit/>
          </a:bodyPr>
          <a:lstStyle/>
          <a:p>
            <a:r>
              <a:rPr lang="en-GB" sz="1400" dirty="0"/>
              <a:t>Based on Updrafts and Downdrafts, NASA Glenn Research </a:t>
            </a:r>
            <a:r>
              <a:rPr lang="en-GB" sz="1400" dirty="0" err="1"/>
              <a:t>Center</a:t>
            </a:r>
            <a:r>
              <a:rPr lang="en-GB" sz="1400" dirty="0"/>
              <a:t> </a:t>
            </a:r>
            <a:r>
              <a:rPr lang="en-GB" sz="1400" dirty="0">
                <a:hlinkClick r:id="rId3"/>
              </a:rPr>
              <a:t>https://www.grc.nasa.gov/WWW/k-12/airplane/move4.html</a:t>
            </a:r>
            <a:endParaRPr lang="en-GB" sz="1400" dirty="0"/>
          </a:p>
        </p:txBody>
      </p:sp>
      <p:cxnSp>
        <p:nvCxnSpPr>
          <p:cNvPr id="27" name="Rak pilkoppling 26"/>
          <p:cNvCxnSpPr/>
          <p:nvPr/>
        </p:nvCxnSpPr>
        <p:spPr>
          <a:xfrm>
            <a:off x="2829861" y="3466089"/>
            <a:ext cx="9237" cy="60960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Rak pilkoppling 29"/>
          <p:cNvCxnSpPr/>
          <p:nvPr/>
        </p:nvCxnSpPr>
        <p:spPr>
          <a:xfrm>
            <a:off x="3994725" y="4470687"/>
            <a:ext cx="9237" cy="60960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9192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p:cNvSpPr/>
          <p:nvPr/>
        </p:nvSpPr>
        <p:spPr>
          <a:xfrm rot="19597472">
            <a:off x="3151139" y="2468015"/>
            <a:ext cx="816327" cy="1915883"/>
          </a:xfrm>
          <a:custGeom>
            <a:avLst/>
            <a:gdLst>
              <a:gd name="connsiteX0" fmla="*/ 0 w 490650"/>
              <a:gd name="connsiteY0" fmla="*/ 0 h 1801091"/>
              <a:gd name="connsiteX1" fmla="*/ 490650 w 490650"/>
              <a:gd name="connsiteY1" fmla="*/ 0 h 1801091"/>
              <a:gd name="connsiteX2" fmla="*/ 490650 w 490650"/>
              <a:gd name="connsiteY2" fmla="*/ 1801091 h 1801091"/>
              <a:gd name="connsiteX3" fmla="*/ 0 w 490650"/>
              <a:gd name="connsiteY3" fmla="*/ 1801091 h 1801091"/>
              <a:gd name="connsiteX4" fmla="*/ 0 w 490650"/>
              <a:gd name="connsiteY4" fmla="*/ 0 h 1801091"/>
              <a:gd name="connsiteX0" fmla="*/ 234026 w 490650"/>
              <a:gd name="connsiteY0" fmla="*/ 165229 h 1801091"/>
              <a:gd name="connsiteX1" fmla="*/ 490650 w 490650"/>
              <a:gd name="connsiteY1" fmla="*/ 0 h 1801091"/>
              <a:gd name="connsiteX2" fmla="*/ 490650 w 490650"/>
              <a:gd name="connsiteY2" fmla="*/ 1801091 h 1801091"/>
              <a:gd name="connsiteX3" fmla="*/ 0 w 490650"/>
              <a:gd name="connsiteY3" fmla="*/ 1801091 h 1801091"/>
              <a:gd name="connsiteX4" fmla="*/ 234026 w 490650"/>
              <a:gd name="connsiteY4" fmla="*/ 165229 h 1801091"/>
              <a:gd name="connsiteX0" fmla="*/ 2632 w 259256"/>
              <a:gd name="connsiteY0" fmla="*/ 165229 h 1953525"/>
              <a:gd name="connsiteX1" fmla="*/ 259256 w 259256"/>
              <a:gd name="connsiteY1" fmla="*/ 0 h 1953525"/>
              <a:gd name="connsiteX2" fmla="*/ 259256 w 259256"/>
              <a:gd name="connsiteY2" fmla="*/ 1801091 h 1953525"/>
              <a:gd name="connsiteX3" fmla="*/ 0 w 259256"/>
              <a:gd name="connsiteY3" fmla="*/ 1953525 h 1953525"/>
              <a:gd name="connsiteX4" fmla="*/ 2632 w 259256"/>
              <a:gd name="connsiteY4" fmla="*/ 165229 h 1953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256" h="1953525">
                <a:moveTo>
                  <a:pt x="2632" y="165229"/>
                </a:moveTo>
                <a:lnTo>
                  <a:pt x="259256" y="0"/>
                </a:lnTo>
                <a:lnTo>
                  <a:pt x="259256" y="1801091"/>
                </a:lnTo>
                <a:lnTo>
                  <a:pt x="0" y="1953525"/>
                </a:lnTo>
                <a:cubicBezTo>
                  <a:pt x="877" y="1357426"/>
                  <a:pt x="1755" y="761328"/>
                  <a:pt x="2632" y="165229"/>
                </a:cubicBezTo>
                <a:close/>
              </a:path>
            </a:pathLst>
          </a:cu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prstClr val="black"/>
              </a:solidFill>
              <a:latin typeface="Arial"/>
            </a:endParaRPr>
          </a:p>
        </p:txBody>
      </p:sp>
      <p:sp>
        <p:nvSpPr>
          <p:cNvPr id="2" name="Rubrik 1"/>
          <p:cNvSpPr>
            <a:spLocks noGrp="1"/>
          </p:cNvSpPr>
          <p:nvPr>
            <p:ph type="title"/>
          </p:nvPr>
        </p:nvSpPr>
        <p:spPr/>
        <p:txBody>
          <a:bodyPr/>
          <a:lstStyle/>
          <a:p>
            <a:r>
              <a:rPr lang="sv-SE" dirty="0" err="1"/>
              <a:t>Deflection</a:t>
            </a:r>
            <a:r>
              <a:rPr lang="sv-SE" dirty="0"/>
              <a:t> </a:t>
            </a:r>
            <a:r>
              <a:rPr lang="sv-SE" dirty="0" err="1"/>
              <a:t>of</a:t>
            </a:r>
            <a:r>
              <a:rPr lang="sv-SE" dirty="0"/>
              <a:t> air by </a:t>
            </a:r>
            <a:r>
              <a:rPr lang="sv-SE" dirty="0" err="1"/>
              <a:t>cardboard</a:t>
            </a:r>
            <a:endParaRPr lang="en-GB" dirty="0"/>
          </a:p>
        </p:txBody>
      </p:sp>
      <p:sp>
        <p:nvSpPr>
          <p:cNvPr id="4" name="textruta 3"/>
          <p:cNvSpPr txBox="1"/>
          <p:nvPr/>
        </p:nvSpPr>
        <p:spPr>
          <a:xfrm>
            <a:off x="951499" y="1582739"/>
            <a:ext cx="461665" cy="4078286"/>
          </a:xfrm>
          <a:prstGeom prst="rect">
            <a:avLst/>
          </a:prstGeom>
          <a:noFill/>
        </p:spPr>
        <p:txBody>
          <a:bodyPr vert="vert270" wrap="square" rtlCol="0">
            <a:spAutoFit/>
          </a:bodyPr>
          <a:lstStyle/>
          <a:p>
            <a:r>
              <a:rPr lang="sv-SE" dirty="0" err="1"/>
              <a:t>Vertical</a:t>
            </a:r>
            <a:r>
              <a:rPr lang="sv-SE" dirty="0"/>
              <a:t> </a:t>
            </a:r>
            <a:r>
              <a:rPr lang="sv-SE" dirty="0" err="1"/>
              <a:t>direction</a:t>
            </a:r>
            <a:endParaRPr lang="en-GB" dirty="0"/>
          </a:p>
        </p:txBody>
      </p:sp>
      <p:cxnSp>
        <p:nvCxnSpPr>
          <p:cNvPr id="5" name="Rak pilkoppling 4"/>
          <p:cNvCxnSpPr/>
          <p:nvPr/>
        </p:nvCxnSpPr>
        <p:spPr>
          <a:xfrm flipV="1">
            <a:off x="1413164" y="1582739"/>
            <a:ext cx="0" cy="4078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Pil: sparr 5"/>
          <p:cNvSpPr/>
          <p:nvPr/>
        </p:nvSpPr>
        <p:spPr>
          <a:xfrm>
            <a:off x="3773056" y="2184400"/>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26" name="Frihandsfigur: Form 25"/>
          <p:cNvSpPr/>
          <p:nvPr/>
        </p:nvSpPr>
        <p:spPr>
          <a:xfrm>
            <a:off x="4091710" y="2706255"/>
            <a:ext cx="3306618" cy="824480"/>
          </a:xfrm>
          <a:custGeom>
            <a:avLst/>
            <a:gdLst>
              <a:gd name="connsiteX0" fmla="*/ 3306618 w 3306618"/>
              <a:gd name="connsiteY0" fmla="*/ 738909 h 824480"/>
              <a:gd name="connsiteX1" fmla="*/ 923636 w 3306618"/>
              <a:gd name="connsiteY1" fmla="*/ 757382 h 824480"/>
              <a:gd name="connsiteX2" fmla="*/ 0 w 3306618"/>
              <a:gd name="connsiteY2" fmla="*/ 0 h 824480"/>
            </a:gdLst>
            <a:ahLst/>
            <a:cxnLst>
              <a:cxn ang="0">
                <a:pos x="connsiteX0" y="connsiteY0"/>
              </a:cxn>
              <a:cxn ang="0">
                <a:pos x="connsiteX1" y="connsiteY1"/>
              </a:cxn>
              <a:cxn ang="0">
                <a:pos x="connsiteX2" y="connsiteY2"/>
              </a:cxn>
            </a:cxnLst>
            <a:rect l="l" t="t" r="r" b="b"/>
            <a:pathLst>
              <a:path w="3306618" h="824480">
                <a:moveTo>
                  <a:pt x="3306618" y="738909"/>
                </a:moveTo>
                <a:cubicBezTo>
                  <a:pt x="2390678" y="809721"/>
                  <a:pt x="1474739" y="880533"/>
                  <a:pt x="923636" y="757382"/>
                </a:cubicBezTo>
                <a:cubicBezTo>
                  <a:pt x="372533" y="634231"/>
                  <a:pt x="186266" y="317115"/>
                  <a:pt x="0" y="0"/>
                </a:cubicBezTo>
              </a:path>
            </a:pathLst>
          </a:custGeom>
          <a:noFill/>
          <a:ln>
            <a:solidFill>
              <a:srgbClr val="FF0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8" name="Rak pilkoppling 27"/>
          <p:cNvCxnSpPr/>
          <p:nvPr/>
        </p:nvCxnSpPr>
        <p:spPr>
          <a:xfrm flipH="1">
            <a:off x="5010728" y="3962401"/>
            <a:ext cx="2387600" cy="0"/>
          </a:xfrm>
          <a:prstGeom prst="straightConnector1">
            <a:avLst/>
          </a:prstGeom>
          <a:ln w="28575">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0" name="textruta 29"/>
          <p:cNvSpPr txBox="1"/>
          <p:nvPr/>
        </p:nvSpPr>
        <p:spPr>
          <a:xfrm>
            <a:off x="5251808" y="1907462"/>
            <a:ext cx="2440492" cy="923330"/>
          </a:xfrm>
          <a:prstGeom prst="rect">
            <a:avLst/>
          </a:prstGeom>
          <a:noFill/>
        </p:spPr>
        <p:txBody>
          <a:bodyPr wrap="square" rtlCol="0">
            <a:spAutoFit/>
          </a:bodyPr>
          <a:lstStyle/>
          <a:p>
            <a:r>
              <a:rPr lang="sv-SE" dirty="0" err="1"/>
              <a:t>Incoming</a:t>
            </a:r>
            <a:r>
              <a:rPr lang="sv-SE" dirty="0"/>
              <a:t> air is </a:t>
            </a:r>
            <a:r>
              <a:rPr lang="sv-SE" dirty="0" err="1"/>
              <a:t>deflected</a:t>
            </a:r>
            <a:r>
              <a:rPr lang="sv-SE" dirty="0"/>
              <a:t>: </a:t>
            </a:r>
            <a:r>
              <a:rPr lang="sv-SE" dirty="0" err="1"/>
              <a:t>updraft</a:t>
            </a:r>
            <a:r>
              <a:rPr lang="sv-SE" dirty="0"/>
              <a:t> is </a:t>
            </a:r>
            <a:r>
              <a:rPr lang="sv-SE" dirty="0" err="1"/>
              <a:t>created</a:t>
            </a:r>
            <a:r>
              <a:rPr lang="sv-SE" dirty="0"/>
              <a:t> </a:t>
            </a:r>
            <a:endParaRPr lang="en-GB" dirty="0"/>
          </a:p>
        </p:txBody>
      </p:sp>
      <p:sp>
        <p:nvSpPr>
          <p:cNvPr id="31" name="textruta 30"/>
          <p:cNvSpPr txBox="1"/>
          <p:nvPr/>
        </p:nvSpPr>
        <p:spPr>
          <a:xfrm>
            <a:off x="2539066" y="4482847"/>
            <a:ext cx="2480899" cy="369332"/>
          </a:xfrm>
          <a:prstGeom prst="rect">
            <a:avLst/>
          </a:prstGeom>
          <a:noFill/>
        </p:spPr>
        <p:txBody>
          <a:bodyPr wrap="square" rtlCol="0">
            <a:spAutoFit/>
          </a:bodyPr>
          <a:lstStyle/>
          <a:p>
            <a:r>
              <a:rPr lang="sv-SE" dirty="0" err="1"/>
              <a:t>cardboard</a:t>
            </a:r>
            <a:r>
              <a:rPr lang="sv-SE" dirty="0"/>
              <a:t>, hand etc.</a:t>
            </a:r>
            <a:endParaRPr lang="en-GB" dirty="0"/>
          </a:p>
        </p:txBody>
      </p:sp>
      <p:sp>
        <p:nvSpPr>
          <p:cNvPr id="3" name="Platshållare för datum 2"/>
          <p:cNvSpPr>
            <a:spLocks noGrp="1"/>
          </p:cNvSpPr>
          <p:nvPr>
            <p:ph type="dt" sz="half" idx="10"/>
          </p:nvPr>
        </p:nvSpPr>
        <p:spPr/>
        <p:txBody>
          <a:bodyPr/>
          <a:lstStyle/>
          <a:p>
            <a:r>
              <a:rPr lang="sv-SE"/>
              <a:t>International physicist’s tournament 2017</a:t>
            </a:r>
            <a:endParaRPr lang="en-GB"/>
          </a:p>
        </p:txBody>
      </p:sp>
      <p:sp>
        <p:nvSpPr>
          <p:cNvPr id="8" name="Platshållare för sidfot 7"/>
          <p:cNvSpPr>
            <a:spLocks noGrp="1"/>
          </p:cNvSpPr>
          <p:nvPr>
            <p:ph type="ftr" sz="quarter" idx="11"/>
          </p:nvPr>
        </p:nvSpPr>
        <p:spPr/>
        <p:txBody>
          <a:bodyPr/>
          <a:lstStyle/>
          <a:p>
            <a:r>
              <a:rPr lang="en-GB"/>
              <a:t>KTH IPT Team</a:t>
            </a:r>
          </a:p>
        </p:txBody>
      </p:sp>
      <p:sp>
        <p:nvSpPr>
          <p:cNvPr id="9" name="Platshållare för bildnummer 8"/>
          <p:cNvSpPr>
            <a:spLocks noGrp="1"/>
          </p:cNvSpPr>
          <p:nvPr>
            <p:ph type="sldNum" sz="quarter" idx="12"/>
          </p:nvPr>
        </p:nvSpPr>
        <p:spPr/>
        <p:txBody>
          <a:bodyPr/>
          <a:lstStyle/>
          <a:p>
            <a:fld id="{0A5BB9CA-7E98-491A-8EA1-ABE7E829D232}" type="slidenum">
              <a:rPr lang="en-GB" smtClean="0"/>
              <a:t>14</a:t>
            </a:fld>
            <a:endParaRPr lang="en-GB"/>
          </a:p>
        </p:txBody>
      </p:sp>
      <p:sp>
        <p:nvSpPr>
          <p:cNvPr id="14" name="textruta 13"/>
          <p:cNvSpPr txBox="1"/>
          <p:nvPr/>
        </p:nvSpPr>
        <p:spPr>
          <a:xfrm>
            <a:off x="5745019" y="4841179"/>
            <a:ext cx="3246070" cy="1015663"/>
          </a:xfrm>
          <a:prstGeom prst="rect">
            <a:avLst/>
          </a:prstGeom>
          <a:noFill/>
        </p:spPr>
        <p:txBody>
          <a:bodyPr wrap="square" rtlCol="0">
            <a:spAutoFit/>
          </a:bodyPr>
          <a:lstStyle/>
          <a:p>
            <a:r>
              <a:rPr lang="en-GB" dirty="0"/>
              <a:t>Glider can only be controlled if flown close to the top edge!</a:t>
            </a:r>
          </a:p>
          <a:p>
            <a:r>
              <a:rPr lang="en-GB" sz="1200" dirty="0"/>
              <a:t>(mutual observation of investigator and sciencetoymaker.org)</a:t>
            </a:r>
          </a:p>
        </p:txBody>
      </p:sp>
    </p:spTree>
    <p:extLst>
      <p:ext uri="{BB962C8B-B14F-4D97-AF65-F5344CB8AC3E}">
        <p14:creationId xmlns:p14="http://schemas.microsoft.com/office/powerpoint/2010/main" val="3194490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Simulations</a:t>
            </a:r>
            <a:endParaRPr lang="en-GB" dirty="0"/>
          </a:p>
        </p:txBody>
      </p:sp>
      <mc:AlternateContent xmlns:mc="http://schemas.openxmlformats.org/markup-compatibility/2006" xmlns:a14="http://schemas.microsoft.com/office/drawing/2010/main">
        <mc:Choice Requires="a14">
          <p:sp>
            <p:nvSpPr>
              <p:cNvPr id="3" name="Platshållare för innehåll 2"/>
              <p:cNvSpPr>
                <a:spLocks noGrp="1"/>
              </p:cNvSpPr>
              <p:nvPr>
                <p:ph idx="1"/>
              </p:nvPr>
            </p:nvSpPr>
            <p:spPr/>
            <p:txBody>
              <a:bodyPr/>
              <a:lstStyle/>
              <a:p>
                <a:r>
                  <a:rPr lang="sv-SE" dirty="0"/>
                  <a:t>Naivier-Stokes </a:t>
                </a:r>
                <a:r>
                  <a:rPr lang="sv-SE" dirty="0" err="1"/>
                  <a:t>equations</a:t>
                </a:r>
                <a:r>
                  <a:rPr lang="sv-SE" dirty="0"/>
                  <a:t> for </a:t>
                </a:r>
                <a:r>
                  <a:rPr lang="sv-SE" dirty="0" err="1"/>
                  <a:t>stationary</a:t>
                </a:r>
                <a:r>
                  <a:rPr lang="sv-SE" dirty="0"/>
                  <a:t> </a:t>
                </a:r>
                <a:r>
                  <a:rPr lang="sv-SE" dirty="0" err="1"/>
                  <a:t>incompressible</a:t>
                </a:r>
                <a:r>
                  <a:rPr lang="sv-SE" dirty="0"/>
                  <a:t> </a:t>
                </a:r>
                <a:r>
                  <a:rPr lang="sv-SE" dirty="0" err="1"/>
                  <a:t>flow</a:t>
                </a:r>
                <a:r>
                  <a:rPr lang="sv-SE" dirty="0"/>
                  <a:t> </a:t>
                </a:r>
                <a:r>
                  <a:rPr lang="sv-SE" dirty="0" err="1"/>
                  <a:t>with</a:t>
                </a:r>
                <a:r>
                  <a:rPr lang="sv-SE" dirty="0"/>
                  <a:t> no-slip </a:t>
                </a:r>
                <a:r>
                  <a:rPr lang="sv-SE" dirty="0" err="1"/>
                  <a:t>boundary</a:t>
                </a:r>
                <a:r>
                  <a:rPr lang="sv-SE" dirty="0"/>
                  <a:t> </a:t>
                </a:r>
                <a:r>
                  <a:rPr lang="sv-SE" dirty="0" err="1"/>
                  <a:t>condition</a:t>
                </a:r>
                <a:endParaRPr lang="sv-SE" dirty="0"/>
              </a:p>
              <a:p>
                <a:endParaRPr lang="sv-SE" dirty="0"/>
              </a:p>
              <a:p>
                <a:pPr/>
                <a14:m>
                  <m:oMathPara xmlns:m="http://schemas.openxmlformats.org/officeDocument/2006/math">
                    <m:oMathParaPr>
                      <m:jc m:val="centerGroup"/>
                    </m:oMathParaPr>
                    <m:oMath xmlns:m="http://schemas.openxmlformats.org/officeDocument/2006/math">
                      <m:r>
                        <a:rPr lang="sv-SE" b="0" i="1" smtClean="0">
                          <a:latin typeface="Cambria Math" panose="02040503050406030204" pitchFamily="18" charset="0"/>
                        </a:rPr>
                        <m:t>𝜌</m:t>
                      </m:r>
                      <m:d>
                        <m:dPr>
                          <m:ctrlPr>
                            <a:rPr lang="sv-SE" b="0" i="1" smtClean="0">
                              <a:latin typeface="Cambria Math" panose="02040503050406030204" pitchFamily="18" charset="0"/>
                            </a:rPr>
                          </m:ctrlPr>
                        </m:dPr>
                        <m:e>
                          <m:r>
                            <a:rPr lang="sv-SE" b="1" i="1" smtClean="0">
                              <a:latin typeface="Cambria Math" panose="02040503050406030204" pitchFamily="18" charset="0"/>
                            </a:rPr>
                            <m:t>𝒖</m:t>
                          </m:r>
                          <m:r>
                            <a:rPr lang="sv-SE" b="0" i="1" smtClean="0">
                              <a:latin typeface="Cambria Math" panose="02040503050406030204" pitchFamily="18" charset="0"/>
                            </a:rPr>
                            <m:t>⋅</m:t>
                          </m:r>
                          <m:r>
                            <a:rPr lang="sv-SE" b="0" i="0" smtClean="0">
                              <a:latin typeface="Cambria Math" panose="02040503050406030204" pitchFamily="18" charset="0"/>
                            </a:rPr>
                            <m:t>𝛻</m:t>
                          </m:r>
                        </m:e>
                      </m:d>
                      <m:r>
                        <a:rPr lang="sv-SE" b="1" i="1" smtClean="0">
                          <a:latin typeface="Cambria Math" panose="02040503050406030204" pitchFamily="18" charset="0"/>
                        </a:rPr>
                        <m:t>𝒖</m:t>
                      </m:r>
                      <m:r>
                        <a:rPr lang="sv-SE" b="0" i="1" smtClean="0">
                          <a:latin typeface="Cambria Math" panose="02040503050406030204" pitchFamily="18" charset="0"/>
                        </a:rPr>
                        <m:t>=</m:t>
                      </m:r>
                      <m:r>
                        <a:rPr lang="sv-SE" b="0" i="0" smtClean="0">
                          <a:latin typeface="Cambria Math" panose="02040503050406030204" pitchFamily="18" charset="0"/>
                        </a:rPr>
                        <m:t>𝛻</m:t>
                      </m:r>
                      <m:r>
                        <a:rPr lang="sv-SE" b="0" i="1" smtClean="0">
                          <a:latin typeface="Cambria Math" panose="02040503050406030204" pitchFamily="18" charset="0"/>
                        </a:rPr>
                        <m:t>⋅</m:t>
                      </m:r>
                      <m:d>
                        <m:dPr>
                          <m:begChr m:val="["/>
                          <m:endChr m:val="]"/>
                          <m:ctrlPr>
                            <a:rPr lang="sv-SE" b="0" i="1" smtClean="0">
                              <a:latin typeface="Cambria Math" panose="02040503050406030204" pitchFamily="18" charset="0"/>
                            </a:rPr>
                          </m:ctrlPr>
                        </m:dPr>
                        <m:e>
                          <m:r>
                            <a:rPr lang="sv-SE" b="0" i="1" smtClean="0">
                              <a:latin typeface="Cambria Math" panose="02040503050406030204" pitchFamily="18" charset="0"/>
                            </a:rPr>
                            <m:t>−</m:t>
                          </m:r>
                          <m:r>
                            <a:rPr lang="sv-SE" b="0" i="1" smtClean="0">
                              <a:latin typeface="Cambria Math" panose="02040503050406030204" pitchFamily="18" charset="0"/>
                            </a:rPr>
                            <m:t>𝜌</m:t>
                          </m:r>
                          <m:r>
                            <a:rPr lang="sv-SE" b="0" i="1" smtClean="0">
                              <a:latin typeface="Cambria Math" panose="02040503050406030204" pitchFamily="18" charset="0"/>
                            </a:rPr>
                            <m:t>𝐼</m:t>
                          </m:r>
                          <m:r>
                            <a:rPr lang="sv-SE" b="0" i="1" smtClean="0">
                              <a:latin typeface="Cambria Math" panose="02040503050406030204" pitchFamily="18" charset="0"/>
                            </a:rPr>
                            <m:t>+</m:t>
                          </m:r>
                          <m:d>
                            <m:dPr>
                              <m:ctrlPr>
                                <a:rPr lang="sv-SE" b="0" i="1" smtClean="0">
                                  <a:latin typeface="Cambria Math" panose="02040503050406030204" pitchFamily="18" charset="0"/>
                                </a:rPr>
                              </m:ctrlPr>
                            </m:dPr>
                            <m:e>
                              <m:r>
                                <a:rPr lang="sv-SE" b="0" i="1" smtClean="0">
                                  <a:latin typeface="Cambria Math" panose="02040503050406030204" pitchFamily="18" charset="0"/>
                                </a:rPr>
                                <m:t>𝜇</m:t>
                              </m:r>
                              <m:r>
                                <a:rPr lang="sv-SE">
                                  <a:latin typeface="Cambria Math" panose="02040503050406030204" pitchFamily="18" charset="0"/>
                                </a:rPr>
                                <m:t>𝛻</m:t>
                              </m:r>
                              <m:r>
                                <a:rPr lang="sv-SE" b="1" i="1">
                                  <a:latin typeface="Cambria Math" panose="02040503050406030204" pitchFamily="18" charset="0"/>
                                </a:rPr>
                                <m:t>𝒖</m:t>
                              </m:r>
                              <m:r>
                                <a:rPr lang="sv-SE" i="1">
                                  <a:latin typeface="Cambria Math" panose="02040503050406030204" pitchFamily="18" charset="0"/>
                                </a:rPr>
                                <m:t>+</m:t>
                              </m:r>
                              <m:sSup>
                                <m:sSupPr>
                                  <m:ctrlPr>
                                    <a:rPr lang="sv-SE" i="1">
                                      <a:latin typeface="Cambria Math" panose="02040503050406030204" pitchFamily="18" charset="0"/>
                                    </a:rPr>
                                  </m:ctrlPr>
                                </m:sSupPr>
                                <m:e>
                                  <m:d>
                                    <m:dPr>
                                      <m:ctrlPr>
                                        <a:rPr lang="sv-SE" i="1">
                                          <a:latin typeface="Cambria Math" panose="02040503050406030204" pitchFamily="18" charset="0"/>
                                        </a:rPr>
                                      </m:ctrlPr>
                                    </m:dPr>
                                    <m:e>
                                      <m:r>
                                        <a:rPr lang="sv-SE">
                                          <a:latin typeface="Cambria Math" panose="02040503050406030204" pitchFamily="18" charset="0"/>
                                        </a:rPr>
                                        <m:t>𝛻</m:t>
                                      </m:r>
                                      <m:r>
                                        <a:rPr lang="sv-SE" b="1" i="1">
                                          <a:latin typeface="Cambria Math" panose="02040503050406030204" pitchFamily="18" charset="0"/>
                                        </a:rPr>
                                        <m:t>𝒖</m:t>
                                      </m:r>
                                    </m:e>
                                  </m:d>
                                </m:e>
                                <m:sup>
                                  <m:r>
                                    <a:rPr lang="sv-SE" i="1">
                                      <a:latin typeface="Cambria Math" panose="02040503050406030204" pitchFamily="18" charset="0"/>
                                    </a:rPr>
                                    <m:t>𝑇</m:t>
                                  </m:r>
                                </m:sup>
                              </m:sSup>
                            </m:e>
                          </m:d>
                        </m:e>
                      </m:d>
                      <m:r>
                        <a:rPr lang="sv-SE" b="0" i="1" smtClean="0">
                          <a:latin typeface="Cambria Math" panose="02040503050406030204" pitchFamily="18" charset="0"/>
                        </a:rPr>
                        <m:t>+</m:t>
                      </m:r>
                      <m:r>
                        <a:rPr lang="sv-SE" b="1" i="1" smtClean="0">
                          <a:latin typeface="Cambria Math" panose="02040503050406030204" pitchFamily="18" charset="0"/>
                        </a:rPr>
                        <m:t>𝑭</m:t>
                      </m:r>
                    </m:oMath>
                  </m:oMathPara>
                </a14:m>
                <a:endParaRPr lang="sv-SE" dirty="0"/>
              </a:p>
              <a:p>
                <a:endParaRPr lang="sv-SE" dirty="0"/>
              </a:p>
              <a:p>
                <a:r>
                  <a:rPr lang="sv-SE" dirty="0" err="1"/>
                  <a:t>Simulated</a:t>
                </a:r>
                <a:r>
                  <a:rPr lang="sv-SE" dirty="0"/>
                  <a:t> </a:t>
                </a:r>
                <a:r>
                  <a:rPr lang="sv-SE" dirty="0" err="1"/>
                  <a:t>using</a:t>
                </a:r>
                <a:r>
                  <a:rPr lang="sv-SE" dirty="0"/>
                  <a:t> COMSOL </a:t>
                </a:r>
                <a:r>
                  <a:rPr lang="sv-SE" dirty="0" err="1"/>
                  <a:t>Multiphysics</a:t>
                </a:r>
                <a:r>
                  <a:rPr lang="sv-SE" dirty="0"/>
                  <a:t> software</a:t>
                </a:r>
              </a:p>
              <a:p>
                <a:endParaRPr lang="sv-SE" dirty="0"/>
              </a:p>
              <a:p>
                <a:endParaRPr lang="en-GB" dirty="0"/>
              </a:p>
            </p:txBody>
          </p:sp>
        </mc:Choice>
        <mc:Fallback xmlns="">
          <p:sp>
            <p:nvSpPr>
              <p:cNvPr id="3" name="Platshållare för innehåll 2"/>
              <p:cNvSpPr>
                <a:spLocks noGrp="1" noRot="1" noChangeAspect="1" noMove="1" noResize="1" noEditPoints="1" noAdjustHandles="1" noChangeArrowheads="1" noChangeShapeType="1" noTextEdit="1"/>
              </p:cNvSpPr>
              <p:nvPr>
                <p:ph idx="1"/>
              </p:nvPr>
            </p:nvSpPr>
            <p:spPr>
              <a:blipFill>
                <a:blip r:embed="rId3"/>
                <a:stretch>
                  <a:fillRect l="-2287" t="-1794"/>
                </a:stretch>
              </a:blipFill>
            </p:spPr>
            <p:txBody>
              <a:bodyPr/>
              <a:lstStyle/>
              <a:p>
                <a:r>
                  <a:rPr lang="en-GB">
                    <a:noFill/>
                  </a:rPr>
                  <a:t> </a:t>
                </a:r>
              </a:p>
            </p:txBody>
          </p:sp>
        </mc:Fallback>
      </mc:AlternateContent>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15</a:t>
            </a:fld>
            <a:endParaRPr lang="en-GB"/>
          </a:p>
        </p:txBody>
      </p:sp>
      <p:sp>
        <p:nvSpPr>
          <p:cNvPr id="6" name="Platshållare för sidfot 5"/>
          <p:cNvSpPr>
            <a:spLocks noGrp="1"/>
          </p:cNvSpPr>
          <p:nvPr>
            <p:ph type="ftr" sz="quarter" idx="11"/>
          </p:nvPr>
        </p:nvSpPr>
        <p:spPr/>
        <p:txBody>
          <a:bodyPr/>
          <a:lstStyle/>
          <a:p>
            <a:r>
              <a:rPr lang="en-GB"/>
              <a:t>KTH IPT Team</a:t>
            </a:r>
          </a:p>
        </p:txBody>
      </p:sp>
    </p:spTree>
    <p:extLst>
      <p:ext uri="{BB962C8B-B14F-4D97-AF65-F5344CB8AC3E}">
        <p14:creationId xmlns:p14="http://schemas.microsoft.com/office/powerpoint/2010/main" val="36564555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objekt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19250" y="1218607"/>
            <a:ext cx="6835591" cy="5126693"/>
          </a:xfrm>
          <a:prstGeom prst="rect">
            <a:avLst/>
          </a:prstGeom>
        </p:spPr>
      </p:pic>
      <p:sp>
        <p:nvSpPr>
          <p:cNvPr id="2" name="Rubrik 1"/>
          <p:cNvSpPr>
            <a:spLocks noGrp="1"/>
          </p:cNvSpPr>
          <p:nvPr>
            <p:ph type="title"/>
          </p:nvPr>
        </p:nvSpPr>
        <p:spPr/>
        <p:txBody>
          <a:bodyPr/>
          <a:lstStyle/>
          <a:p>
            <a:r>
              <a:rPr lang="sv-SE" dirty="0"/>
              <a:t>Air </a:t>
            </a:r>
            <a:r>
              <a:rPr lang="sv-SE" dirty="0" err="1"/>
              <a:t>flow</a:t>
            </a:r>
            <a:r>
              <a:rPr lang="sv-SE" dirty="0"/>
              <a:t> </a:t>
            </a:r>
            <a:r>
              <a:rPr lang="sv-SE" dirty="0" err="1"/>
              <a:t>around</a:t>
            </a:r>
            <a:r>
              <a:rPr lang="sv-SE" dirty="0"/>
              <a:t> </a:t>
            </a:r>
            <a:r>
              <a:rPr lang="sv-SE" dirty="0" err="1"/>
              <a:t>cardboard</a:t>
            </a:r>
            <a:endParaRPr lang="en-GB" dirty="0"/>
          </a:p>
        </p:txBody>
      </p:sp>
      <p:sp>
        <p:nvSpPr>
          <p:cNvPr id="3" name="Platshållare för datum 2"/>
          <p:cNvSpPr>
            <a:spLocks noGrp="1"/>
          </p:cNvSpPr>
          <p:nvPr>
            <p:ph type="dt" sz="half" idx="10"/>
          </p:nvPr>
        </p:nvSpPr>
        <p:spPr/>
        <p:txBody>
          <a:bodyPr/>
          <a:lstStyle/>
          <a:p>
            <a:r>
              <a:rPr lang="sv-SE"/>
              <a:t>International physicist’s tournament 2017</a:t>
            </a:r>
            <a:endParaRPr lang="en-GB"/>
          </a:p>
        </p:txBody>
      </p:sp>
      <p:sp>
        <p:nvSpPr>
          <p:cNvPr id="7" name="Platshållare för bildnummer 6"/>
          <p:cNvSpPr>
            <a:spLocks noGrp="1"/>
          </p:cNvSpPr>
          <p:nvPr>
            <p:ph type="sldNum" sz="quarter" idx="12"/>
          </p:nvPr>
        </p:nvSpPr>
        <p:spPr/>
        <p:txBody>
          <a:bodyPr/>
          <a:lstStyle/>
          <a:p>
            <a:fld id="{0A5BB9CA-7E98-491A-8EA1-ABE7E829D232}" type="slidenum">
              <a:rPr lang="en-GB" smtClean="0"/>
              <a:t>16</a:t>
            </a:fld>
            <a:endParaRPr lang="en-GB"/>
          </a:p>
        </p:txBody>
      </p:sp>
      <p:sp>
        <p:nvSpPr>
          <p:cNvPr id="6" name="Platshållare för sidfot 5"/>
          <p:cNvSpPr>
            <a:spLocks noGrp="1"/>
          </p:cNvSpPr>
          <p:nvPr>
            <p:ph type="ftr" sz="quarter" idx="11"/>
          </p:nvPr>
        </p:nvSpPr>
        <p:spPr/>
        <p:txBody>
          <a:bodyPr/>
          <a:lstStyle/>
          <a:p>
            <a:r>
              <a:rPr lang="en-GB"/>
              <a:t>KTH IPT Team</a:t>
            </a:r>
          </a:p>
        </p:txBody>
      </p:sp>
      <p:cxnSp>
        <p:nvCxnSpPr>
          <p:cNvPr id="15" name="Rak pilkoppling 14"/>
          <p:cNvCxnSpPr>
            <a:cxnSpLocks/>
          </p:cNvCxnSpPr>
          <p:nvPr/>
        </p:nvCxnSpPr>
        <p:spPr>
          <a:xfrm flipH="1">
            <a:off x="5833807" y="3845681"/>
            <a:ext cx="1478391"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ruta 15"/>
          <p:cNvSpPr txBox="1"/>
          <p:nvPr/>
        </p:nvSpPr>
        <p:spPr>
          <a:xfrm>
            <a:off x="5643393" y="2826705"/>
            <a:ext cx="2110763" cy="923330"/>
          </a:xfrm>
          <a:prstGeom prst="rect">
            <a:avLst/>
          </a:prstGeom>
          <a:noFill/>
        </p:spPr>
        <p:txBody>
          <a:bodyPr wrap="square" rtlCol="0">
            <a:spAutoFit/>
          </a:bodyPr>
          <a:lstStyle/>
          <a:p>
            <a:r>
              <a:rPr lang="sv-SE" dirty="0" err="1"/>
              <a:t>Direction</a:t>
            </a:r>
            <a:r>
              <a:rPr lang="sv-SE" dirty="0"/>
              <a:t> </a:t>
            </a:r>
            <a:r>
              <a:rPr lang="sv-SE" dirty="0" err="1"/>
              <a:t>of</a:t>
            </a:r>
            <a:r>
              <a:rPr lang="sv-SE" dirty="0"/>
              <a:t> </a:t>
            </a:r>
            <a:r>
              <a:rPr lang="sv-SE" dirty="0" err="1"/>
              <a:t>incoming</a:t>
            </a:r>
            <a:r>
              <a:rPr lang="sv-SE" dirty="0"/>
              <a:t> air </a:t>
            </a:r>
            <a:r>
              <a:rPr lang="sv-SE" dirty="0" err="1"/>
              <a:t>flow</a:t>
            </a:r>
            <a:endParaRPr lang="sv-SE" dirty="0"/>
          </a:p>
          <a:p>
            <a:r>
              <a:rPr lang="sv-SE" dirty="0"/>
              <a:t>speed: 1 m/s</a:t>
            </a:r>
            <a:endParaRPr lang="en-GB" dirty="0"/>
          </a:p>
        </p:txBody>
      </p:sp>
      <p:sp>
        <p:nvSpPr>
          <p:cNvPr id="17" name="textruta 16"/>
          <p:cNvSpPr txBox="1"/>
          <p:nvPr/>
        </p:nvSpPr>
        <p:spPr>
          <a:xfrm rot="16200000">
            <a:off x="433587" y="3661015"/>
            <a:ext cx="2001994" cy="369332"/>
          </a:xfrm>
          <a:prstGeom prst="rect">
            <a:avLst/>
          </a:prstGeom>
          <a:noFill/>
        </p:spPr>
        <p:txBody>
          <a:bodyPr wrap="square" rtlCol="0">
            <a:spAutoFit/>
          </a:bodyPr>
          <a:lstStyle/>
          <a:p>
            <a:pPr algn="ctr"/>
            <a:r>
              <a:rPr lang="sv-SE" dirty="0"/>
              <a:t>z-position [m]</a:t>
            </a:r>
            <a:endParaRPr lang="en-GB" dirty="0"/>
          </a:p>
        </p:txBody>
      </p:sp>
    </p:spTree>
    <p:extLst>
      <p:ext uri="{BB962C8B-B14F-4D97-AF65-F5344CB8AC3E}">
        <p14:creationId xmlns:p14="http://schemas.microsoft.com/office/powerpoint/2010/main" val="9762928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1526" y="3355310"/>
            <a:ext cx="4670252" cy="3502689"/>
          </a:xfrm>
          <a:prstGeom prst="rect">
            <a:avLst/>
          </a:prstGeom>
        </p:spPr>
      </p:pic>
      <p:pic>
        <p:nvPicPr>
          <p:cNvPr id="19" name="Bildobjekt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36" y="3163595"/>
            <a:ext cx="4925873" cy="3694405"/>
          </a:xfrm>
          <a:prstGeom prst="rect">
            <a:avLst/>
          </a:prstGeom>
        </p:spPr>
      </p:pic>
      <p:pic>
        <p:nvPicPr>
          <p:cNvPr id="17" name="Bildobjekt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14850" y="-85491"/>
            <a:ext cx="4670252" cy="3502690"/>
          </a:xfrm>
          <a:prstGeom prst="rect">
            <a:avLst/>
          </a:prstGeom>
        </p:spPr>
      </p:pic>
      <p:sp>
        <p:nvSpPr>
          <p:cNvPr id="2" name="Rubrik 1"/>
          <p:cNvSpPr>
            <a:spLocks noGrp="1"/>
          </p:cNvSpPr>
          <p:nvPr>
            <p:ph type="title"/>
          </p:nvPr>
        </p:nvSpPr>
        <p:spPr/>
        <p:txBody>
          <a:bodyPr/>
          <a:lstStyle/>
          <a:p>
            <a:r>
              <a:rPr lang="sv-SE" dirty="0" err="1"/>
              <a:t>Comparison</a:t>
            </a:r>
            <a:br>
              <a:rPr lang="sv-SE" dirty="0"/>
            </a:br>
            <a:r>
              <a:rPr lang="sv-SE" dirty="0" err="1"/>
              <a:t>of</a:t>
            </a:r>
            <a:r>
              <a:rPr lang="sv-SE" dirty="0"/>
              <a:t> </a:t>
            </a:r>
            <a:r>
              <a:rPr lang="sv-SE" dirty="0" err="1"/>
              <a:t>angles</a:t>
            </a:r>
            <a:endParaRPr lang="en-GB" dirty="0"/>
          </a:p>
        </p:txBody>
      </p:sp>
      <p:sp>
        <p:nvSpPr>
          <p:cNvPr id="7" name="textruta 6"/>
          <p:cNvSpPr txBox="1"/>
          <p:nvPr/>
        </p:nvSpPr>
        <p:spPr>
          <a:xfrm>
            <a:off x="1416050" y="1275058"/>
            <a:ext cx="2906568" cy="646331"/>
          </a:xfrm>
          <a:prstGeom prst="rect">
            <a:avLst/>
          </a:prstGeom>
          <a:noFill/>
        </p:spPr>
        <p:txBody>
          <a:bodyPr wrap="square" rtlCol="0">
            <a:spAutoFit/>
          </a:bodyPr>
          <a:lstStyle/>
          <a:p>
            <a:r>
              <a:rPr lang="sv-SE" dirty="0"/>
              <a:t>Air </a:t>
            </a:r>
            <a:r>
              <a:rPr lang="sv-SE" dirty="0" err="1"/>
              <a:t>inflow</a:t>
            </a:r>
            <a:r>
              <a:rPr lang="sv-SE" dirty="0"/>
              <a:t> </a:t>
            </a:r>
            <a:r>
              <a:rPr lang="sv-SE" dirty="0" err="1"/>
              <a:t>of</a:t>
            </a:r>
            <a:r>
              <a:rPr lang="sv-SE" dirty="0"/>
              <a:t> 1 m/s from right </a:t>
            </a:r>
            <a:r>
              <a:rPr lang="sv-SE" dirty="0" err="1"/>
              <a:t>boundary</a:t>
            </a:r>
            <a:r>
              <a:rPr lang="sv-SE" dirty="0"/>
              <a:t> </a:t>
            </a:r>
            <a:endParaRPr lang="en-GB" dirty="0"/>
          </a:p>
        </p:txBody>
      </p:sp>
      <p:sp>
        <p:nvSpPr>
          <p:cNvPr id="8" name="textruta 7"/>
          <p:cNvSpPr txBox="1"/>
          <p:nvPr/>
        </p:nvSpPr>
        <p:spPr>
          <a:xfrm>
            <a:off x="4977095" y="2157632"/>
            <a:ext cx="603017" cy="584775"/>
          </a:xfrm>
          <a:prstGeom prst="rect">
            <a:avLst/>
          </a:prstGeom>
          <a:noFill/>
        </p:spPr>
        <p:txBody>
          <a:bodyPr wrap="square" rtlCol="0">
            <a:spAutoFit/>
          </a:bodyPr>
          <a:lstStyle/>
          <a:p>
            <a:r>
              <a:rPr lang="sv-SE" sz="3200" b="1" dirty="0"/>
              <a:t>0</a:t>
            </a:r>
            <a:endParaRPr lang="en-GB" sz="3200" b="1" dirty="0"/>
          </a:p>
        </p:txBody>
      </p:sp>
      <p:sp>
        <p:nvSpPr>
          <p:cNvPr id="9" name="textruta 8"/>
          <p:cNvSpPr txBox="1"/>
          <p:nvPr/>
        </p:nvSpPr>
        <p:spPr>
          <a:xfrm>
            <a:off x="491425" y="5450698"/>
            <a:ext cx="923362" cy="584775"/>
          </a:xfrm>
          <a:prstGeom prst="rect">
            <a:avLst/>
          </a:prstGeom>
          <a:noFill/>
        </p:spPr>
        <p:txBody>
          <a:bodyPr wrap="square" rtlCol="0">
            <a:spAutoFit/>
          </a:bodyPr>
          <a:lstStyle/>
          <a:p>
            <a:r>
              <a:rPr lang="sv-SE" sz="3200" b="1" dirty="0"/>
              <a:t>30</a:t>
            </a:r>
            <a:endParaRPr lang="en-GB" sz="3200" b="1" dirty="0"/>
          </a:p>
        </p:txBody>
      </p:sp>
      <p:sp>
        <p:nvSpPr>
          <p:cNvPr id="10" name="textruta 9"/>
          <p:cNvSpPr txBox="1"/>
          <p:nvPr/>
        </p:nvSpPr>
        <p:spPr>
          <a:xfrm>
            <a:off x="5417298" y="5647072"/>
            <a:ext cx="843653" cy="584775"/>
          </a:xfrm>
          <a:prstGeom prst="rect">
            <a:avLst/>
          </a:prstGeom>
          <a:noFill/>
        </p:spPr>
        <p:txBody>
          <a:bodyPr wrap="square" rtlCol="0">
            <a:spAutoFit/>
          </a:bodyPr>
          <a:lstStyle/>
          <a:p>
            <a:r>
              <a:rPr lang="sv-SE" sz="3200" b="1" dirty="0"/>
              <a:t>60</a:t>
            </a:r>
            <a:endParaRPr lang="en-GB" sz="3200" b="1" dirty="0"/>
          </a:p>
        </p:txBody>
      </p:sp>
      <p:sp>
        <p:nvSpPr>
          <p:cNvPr id="15" name="Platshållare för bildnummer 14"/>
          <p:cNvSpPr>
            <a:spLocks noGrp="1"/>
          </p:cNvSpPr>
          <p:nvPr>
            <p:ph type="sldNum" sz="quarter" idx="12"/>
          </p:nvPr>
        </p:nvSpPr>
        <p:spPr/>
        <p:txBody>
          <a:bodyPr/>
          <a:lstStyle/>
          <a:p>
            <a:fld id="{0A5BB9CA-7E98-491A-8EA1-ABE7E829D232}" type="slidenum">
              <a:rPr lang="en-GB" smtClean="0"/>
              <a:t>17</a:t>
            </a:fld>
            <a:endParaRPr lang="en-GB"/>
          </a:p>
        </p:txBody>
      </p:sp>
    </p:spTree>
    <p:extLst>
      <p:ext uri="{BB962C8B-B14F-4D97-AF65-F5344CB8AC3E}">
        <p14:creationId xmlns:p14="http://schemas.microsoft.com/office/powerpoint/2010/main" val="41733107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Zone of high updraft: source of control</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18</a:t>
            </a:fld>
            <a:endParaRPr lang="en-GB"/>
          </a:p>
        </p:txBody>
      </p:sp>
      <p:sp>
        <p:nvSpPr>
          <p:cNvPr id="6" name="Platshållare för sidfot 5"/>
          <p:cNvSpPr>
            <a:spLocks noGrp="1"/>
          </p:cNvSpPr>
          <p:nvPr>
            <p:ph type="ftr" sz="quarter" idx="11"/>
          </p:nvPr>
        </p:nvSpPr>
        <p:spPr/>
        <p:txBody>
          <a:bodyPr/>
          <a:lstStyle/>
          <a:p>
            <a:r>
              <a:rPr lang="en-GB"/>
              <a:t>KTH IPT Team</a:t>
            </a:r>
          </a:p>
        </p:txBody>
      </p:sp>
      <p:sp>
        <p:nvSpPr>
          <p:cNvPr id="14" name="Rektangel 6"/>
          <p:cNvSpPr/>
          <p:nvPr/>
        </p:nvSpPr>
        <p:spPr>
          <a:xfrm rot="2002528" flipH="1">
            <a:off x="1864657" y="2662833"/>
            <a:ext cx="816327" cy="1915883"/>
          </a:xfrm>
          <a:custGeom>
            <a:avLst/>
            <a:gdLst>
              <a:gd name="connsiteX0" fmla="*/ 0 w 490650"/>
              <a:gd name="connsiteY0" fmla="*/ 0 h 1801091"/>
              <a:gd name="connsiteX1" fmla="*/ 490650 w 490650"/>
              <a:gd name="connsiteY1" fmla="*/ 0 h 1801091"/>
              <a:gd name="connsiteX2" fmla="*/ 490650 w 490650"/>
              <a:gd name="connsiteY2" fmla="*/ 1801091 h 1801091"/>
              <a:gd name="connsiteX3" fmla="*/ 0 w 490650"/>
              <a:gd name="connsiteY3" fmla="*/ 1801091 h 1801091"/>
              <a:gd name="connsiteX4" fmla="*/ 0 w 490650"/>
              <a:gd name="connsiteY4" fmla="*/ 0 h 1801091"/>
              <a:gd name="connsiteX0" fmla="*/ 234026 w 490650"/>
              <a:gd name="connsiteY0" fmla="*/ 165229 h 1801091"/>
              <a:gd name="connsiteX1" fmla="*/ 490650 w 490650"/>
              <a:gd name="connsiteY1" fmla="*/ 0 h 1801091"/>
              <a:gd name="connsiteX2" fmla="*/ 490650 w 490650"/>
              <a:gd name="connsiteY2" fmla="*/ 1801091 h 1801091"/>
              <a:gd name="connsiteX3" fmla="*/ 0 w 490650"/>
              <a:gd name="connsiteY3" fmla="*/ 1801091 h 1801091"/>
              <a:gd name="connsiteX4" fmla="*/ 234026 w 490650"/>
              <a:gd name="connsiteY4" fmla="*/ 165229 h 1801091"/>
              <a:gd name="connsiteX0" fmla="*/ 2632 w 259256"/>
              <a:gd name="connsiteY0" fmla="*/ 165229 h 1953525"/>
              <a:gd name="connsiteX1" fmla="*/ 259256 w 259256"/>
              <a:gd name="connsiteY1" fmla="*/ 0 h 1953525"/>
              <a:gd name="connsiteX2" fmla="*/ 259256 w 259256"/>
              <a:gd name="connsiteY2" fmla="*/ 1801091 h 1953525"/>
              <a:gd name="connsiteX3" fmla="*/ 0 w 259256"/>
              <a:gd name="connsiteY3" fmla="*/ 1953525 h 1953525"/>
              <a:gd name="connsiteX4" fmla="*/ 2632 w 259256"/>
              <a:gd name="connsiteY4" fmla="*/ 165229 h 1953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256" h="1953525">
                <a:moveTo>
                  <a:pt x="2632" y="165229"/>
                </a:moveTo>
                <a:lnTo>
                  <a:pt x="259256" y="0"/>
                </a:lnTo>
                <a:lnTo>
                  <a:pt x="259256" y="1801091"/>
                </a:lnTo>
                <a:lnTo>
                  <a:pt x="0" y="1953525"/>
                </a:lnTo>
                <a:cubicBezTo>
                  <a:pt x="877" y="1357426"/>
                  <a:pt x="1755" y="761328"/>
                  <a:pt x="2632" y="165229"/>
                </a:cubicBezTo>
                <a:close/>
              </a:path>
            </a:pathLst>
          </a:cu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prstClr val="black"/>
              </a:solidFill>
              <a:latin typeface="Arial"/>
            </a:endParaRPr>
          </a:p>
        </p:txBody>
      </p:sp>
      <p:sp>
        <p:nvSpPr>
          <p:cNvPr id="16" name="Ellips 15"/>
          <p:cNvSpPr/>
          <p:nvPr/>
        </p:nvSpPr>
        <p:spPr>
          <a:xfrm rot="1957263">
            <a:off x="2029579" y="2519068"/>
            <a:ext cx="980786" cy="770382"/>
          </a:xfrm>
          <a:prstGeom prst="ellipse">
            <a:avLst/>
          </a:prstGeom>
          <a:solidFill>
            <a:srgbClr val="FF0000">
              <a:alpha val="50196"/>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5" name="Pil: sparr 14"/>
          <p:cNvSpPr/>
          <p:nvPr/>
        </p:nvSpPr>
        <p:spPr>
          <a:xfrm flipH="1">
            <a:off x="2272820" y="2226818"/>
            <a:ext cx="397162" cy="369455"/>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3" name="textruta 2"/>
          <p:cNvSpPr txBox="1"/>
          <p:nvPr/>
        </p:nvSpPr>
        <p:spPr>
          <a:xfrm>
            <a:off x="286327" y="5197943"/>
            <a:ext cx="5089236" cy="738664"/>
          </a:xfrm>
          <a:prstGeom prst="rect">
            <a:avLst/>
          </a:prstGeom>
          <a:noFill/>
        </p:spPr>
        <p:txBody>
          <a:bodyPr wrap="square" rtlCol="0">
            <a:spAutoFit/>
          </a:bodyPr>
          <a:lstStyle/>
          <a:p>
            <a:r>
              <a:rPr lang="en-GB" sz="1400" dirty="0"/>
              <a:t>Observed by </a:t>
            </a:r>
            <a:r>
              <a:rPr lang="en-GB" sz="1400" dirty="0" err="1"/>
              <a:t>sciencetoymaker</a:t>
            </a:r>
            <a:r>
              <a:rPr lang="en-GB" sz="1400" dirty="0"/>
              <a:t> as “sweet spot”</a:t>
            </a:r>
          </a:p>
          <a:p>
            <a:r>
              <a:rPr lang="en-GB" sz="1400" dirty="0"/>
              <a:t>http://www.sciencetoymaker.org/airsurf/images/GLIDERS/FlyMosquitoGliderPDF.pdf</a:t>
            </a:r>
          </a:p>
        </p:txBody>
      </p:sp>
      <p:pic>
        <p:nvPicPr>
          <p:cNvPr id="8" name="Bildobjekt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5795" y="1376979"/>
            <a:ext cx="5094619" cy="3820964"/>
          </a:xfrm>
          <a:prstGeom prst="rect">
            <a:avLst/>
          </a:prstGeom>
        </p:spPr>
      </p:pic>
    </p:spTree>
    <p:extLst>
      <p:ext uri="{BB962C8B-B14F-4D97-AF65-F5344CB8AC3E}">
        <p14:creationId xmlns:p14="http://schemas.microsoft.com/office/powerpoint/2010/main" val="315355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Effect of board yaw</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19</a:t>
            </a:fld>
            <a:endParaRPr lang="en-GB"/>
          </a:p>
        </p:txBody>
      </p:sp>
      <p:sp>
        <p:nvSpPr>
          <p:cNvPr id="6" name="Platshållare för sidfot 5"/>
          <p:cNvSpPr>
            <a:spLocks noGrp="1"/>
          </p:cNvSpPr>
          <p:nvPr>
            <p:ph type="ftr" sz="quarter" idx="11"/>
          </p:nvPr>
        </p:nvSpPr>
        <p:spPr/>
        <p:txBody>
          <a:bodyPr/>
          <a:lstStyle/>
          <a:p>
            <a:r>
              <a:rPr lang="en-GB"/>
              <a:t>KTH IPT Team</a:t>
            </a:r>
          </a:p>
        </p:txBody>
      </p:sp>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415" y="1527585"/>
            <a:ext cx="5336320" cy="4002240"/>
          </a:xfrm>
          <a:prstGeom prst="rect">
            <a:avLst/>
          </a:prstGeom>
        </p:spPr>
      </p:pic>
      <p:pic>
        <p:nvPicPr>
          <p:cNvPr id="9" name="Bildobjekt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8752" y="1527585"/>
            <a:ext cx="5336320" cy="4002240"/>
          </a:xfrm>
          <a:prstGeom prst="rect">
            <a:avLst/>
          </a:prstGeom>
        </p:spPr>
      </p:pic>
    </p:spTree>
    <p:extLst>
      <p:ext uri="{BB962C8B-B14F-4D97-AF65-F5344CB8AC3E}">
        <p14:creationId xmlns:p14="http://schemas.microsoft.com/office/powerpoint/2010/main" val="30074267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en-GB" dirty="0"/>
              <a:t>Problem statement</a:t>
            </a:r>
          </a:p>
        </p:txBody>
      </p:sp>
      <p:sp>
        <p:nvSpPr>
          <p:cNvPr id="5" name="Platshållare för innehåll 4"/>
          <p:cNvSpPr>
            <a:spLocks noGrp="1"/>
          </p:cNvSpPr>
          <p:nvPr>
            <p:ph idx="1"/>
          </p:nvPr>
        </p:nvSpPr>
        <p:spPr>
          <a:xfrm>
            <a:off x="1619250" y="1582739"/>
            <a:ext cx="6935788" cy="4078286"/>
          </a:xfrm>
        </p:spPr>
        <p:txBody>
          <a:bodyPr/>
          <a:lstStyle/>
          <a:p>
            <a:r>
              <a:rPr lang="en-US" dirty="0"/>
              <a:t>It is possible to make small gliders with paper and to make them fly for a very long time by putting your hand below the glider during flight. Explain the physics behind this phenomenon and describe the optimal set of parameters for the best control of the glider.</a:t>
            </a:r>
            <a:endParaRPr lang="en-GB" dirty="0"/>
          </a:p>
        </p:txBody>
      </p:sp>
      <p:sp>
        <p:nvSpPr>
          <p:cNvPr id="2" name="Platshållare för datum 1"/>
          <p:cNvSpPr>
            <a:spLocks noGrp="1"/>
          </p:cNvSpPr>
          <p:nvPr>
            <p:ph type="dt" sz="half" idx="10"/>
          </p:nvPr>
        </p:nvSpPr>
        <p:spPr/>
        <p:txBody>
          <a:bodyPr/>
          <a:lstStyle/>
          <a:p>
            <a:r>
              <a:rPr lang="sv-SE"/>
              <a:t>International physicist’s tournament 2017</a:t>
            </a:r>
            <a:endParaRPr lang="en-GB" dirty="0"/>
          </a:p>
        </p:txBody>
      </p:sp>
      <p:sp>
        <p:nvSpPr>
          <p:cNvPr id="3" name="Platshållare för sidfot 2"/>
          <p:cNvSpPr>
            <a:spLocks noGrp="1"/>
          </p:cNvSpPr>
          <p:nvPr>
            <p:ph type="ftr" sz="quarter" idx="11"/>
          </p:nvPr>
        </p:nvSpPr>
        <p:spPr/>
        <p:txBody>
          <a:bodyPr/>
          <a:lstStyle/>
          <a:p>
            <a:r>
              <a:rPr lang="en-GB"/>
              <a:t>KTH IPT Team</a:t>
            </a:r>
          </a:p>
        </p:txBody>
      </p:sp>
      <p:sp>
        <p:nvSpPr>
          <p:cNvPr id="6" name="Platshållare för bildnummer 5"/>
          <p:cNvSpPr>
            <a:spLocks noGrp="1"/>
          </p:cNvSpPr>
          <p:nvPr>
            <p:ph type="sldNum" sz="quarter" idx="12"/>
          </p:nvPr>
        </p:nvSpPr>
        <p:spPr/>
        <p:txBody>
          <a:bodyPr/>
          <a:lstStyle/>
          <a:p>
            <a:fld id="{0A5BB9CA-7E98-491A-8EA1-ABE7E829D232}" type="slidenum">
              <a:rPr lang="en-GB" smtClean="0"/>
              <a:t>2</a:t>
            </a:fld>
            <a:endParaRPr lang="en-GB"/>
          </a:p>
        </p:txBody>
      </p:sp>
    </p:spTree>
    <p:extLst>
      <p:ext uri="{BB962C8B-B14F-4D97-AF65-F5344CB8AC3E}">
        <p14:creationId xmlns:p14="http://schemas.microsoft.com/office/powerpoint/2010/main" val="34382331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ktangel 22"/>
          <p:cNvSpPr/>
          <p:nvPr/>
        </p:nvSpPr>
        <p:spPr>
          <a:xfrm>
            <a:off x="5283523" y="1747682"/>
            <a:ext cx="2456872" cy="2456872"/>
          </a:xfrm>
          <a:prstGeom prst="rect">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8" name="Rektangel 7"/>
          <p:cNvSpPr/>
          <p:nvPr/>
        </p:nvSpPr>
        <p:spPr>
          <a:xfrm>
            <a:off x="1619250" y="1747682"/>
            <a:ext cx="2456872" cy="2456872"/>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 name="Rubrik 1"/>
          <p:cNvSpPr>
            <a:spLocks noGrp="1"/>
          </p:cNvSpPr>
          <p:nvPr>
            <p:ph type="title"/>
          </p:nvPr>
        </p:nvSpPr>
        <p:spPr/>
        <p:txBody>
          <a:bodyPr/>
          <a:lstStyle/>
          <a:p>
            <a:r>
              <a:rPr lang="en-GB" dirty="0"/>
              <a:t>Turning</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0</a:t>
            </a:fld>
            <a:endParaRPr lang="en-GB"/>
          </a:p>
        </p:txBody>
      </p:sp>
      <p:sp>
        <p:nvSpPr>
          <p:cNvPr id="6" name="Platshållare för sidfot 5"/>
          <p:cNvSpPr>
            <a:spLocks noGrp="1"/>
          </p:cNvSpPr>
          <p:nvPr>
            <p:ph type="ftr" sz="quarter" idx="11"/>
          </p:nvPr>
        </p:nvSpPr>
        <p:spPr/>
        <p:txBody>
          <a:bodyPr/>
          <a:lstStyle/>
          <a:p>
            <a:r>
              <a:rPr lang="en-GB"/>
              <a:t>KTH IPT Team</a:t>
            </a:r>
          </a:p>
        </p:txBody>
      </p:sp>
      <p:sp>
        <p:nvSpPr>
          <p:cNvPr id="16" name="Ellips 15"/>
          <p:cNvSpPr/>
          <p:nvPr/>
        </p:nvSpPr>
        <p:spPr>
          <a:xfrm>
            <a:off x="1933230" y="3249442"/>
            <a:ext cx="1828912" cy="770382"/>
          </a:xfrm>
          <a:prstGeom prst="ellipse">
            <a:avLst/>
          </a:prstGeom>
          <a:solidFill>
            <a:srgbClr val="FF0000">
              <a:alpha val="50196"/>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 name="Pil: sparr 6"/>
          <p:cNvSpPr/>
          <p:nvPr/>
        </p:nvSpPr>
        <p:spPr>
          <a:xfrm rot="16200000">
            <a:off x="2459787" y="3044319"/>
            <a:ext cx="775855" cy="1071418"/>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0" name="Rektangel 19"/>
          <p:cNvSpPr/>
          <p:nvPr/>
        </p:nvSpPr>
        <p:spPr>
          <a:xfrm rot="19779588">
            <a:off x="5221156" y="1831893"/>
            <a:ext cx="2456872" cy="2456872"/>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1" name="Ellips 20"/>
          <p:cNvSpPr/>
          <p:nvPr/>
        </p:nvSpPr>
        <p:spPr>
          <a:xfrm rot="19800000">
            <a:off x="5878036" y="3226972"/>
            <a:ext cx="1828912" cy="770382"/>
          </a:xfrm>
          <a:prstGeom prst="ellipse">
            <a:avLst/>
          </a:prstGeom>
          <a:solidFill>
            <a:srgbClr val="FF0000">
              <a:alpha val="50196"/>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2" name="Pil: sparr 21"/>
          <p:cNvSpPr/>
          <p:nvPr/>
        </p:nvSpPr>
        <p:spPr>
          <a:xfrm rot="16200000">
            <a:off x="6259813" y="2799255"/>
            <a:ext cx="775855" cy="1071418"/>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3" name="textruta 2"/>
          <p:cNvSpPr txBox="1"/>
          <p:nvPr/>
        </p:nvSpPr>
        <p:spPr>
          <a:xfrm>
            <a:off x="1579663" y="1072680"/>
            <a:ext cx="2273992" cy="369332"/>
          </a:xfrm>
          <a:prstGeom prst="rect">
            <a:avLst/>
          </a:prstGeom>
          <a:noFill/>
        </p:spPr>
        <p:txBody>
          <a:bodyPr wrap="square" rtlCol="0">
            <a:spAutoFit/>
          </a:bodyPr>
          <a:lstStyle/>
          <a:p>
            <a:r>
              <a:rPr lang="en-GB" dirty="0"/>
              <a:t>Cardboard straight</a:t>
            </a:r>
          </a:p>
        </p:txBody>
      </p:sp>
      <p:sp>
        <p:nvSpPr>
          <p:cNvPr id="24" name="textruta 23"/>
          <p:cNvSpPr txBox="1"/>
          <p:nvPr/>
        </p:nvSpPr>
        <p:spPr>
          <a:xfrm>
            <a:off x="5097677" y="733283"/>
            <a:ext cx="3098469" cy="646331"/>
          </a:xfrm>
          <a:prstGeom prst="rect">
            <a:avLst/>
          </a:prstGeom>
          <a:noFill/>
        </p:spPr>
        <p:txBody>
          <a:bodyPr wrap="square" rtlCol="0">
            <a:spAutoFit/>
          </a:bodyPr>
          <a:lstStyle/>
          <a:p>
            <a:r>
              <a:rPr lang="en-GB" dirty="0"/>
              <a:t>Cardboard turned</a:t>
            </a:r>
          </a:p>
          <a:p>
            <a:r>
              <a:rPr lang="en-GB" dirty="0"/>
              <a:t>Updraft not even over glider</a:t>
            </a:r>
          </a:p>
        </p:txBody>
      </p:sp>
      <p:sp>
        <p:nvSpPr>
          <p:cNvPr id="33" name="Frihandsfigur: Form 32"/>
          <p:cNvSpPr/>
          <p:nvPr/>
        </p:nvSpPr>
        <p:spPr>
          <a:xfrm flipH="1">
            <a:off x="1785582" y="5137044"/>
            <a:ext cx="2124207" cy="468439"/>
          </a:xfrm>
          <a:custGeom>
            <a:avLst/>
            <a:gdLst>
              <a:gd name="connsiteX0" fmla="*/ 2062663 w 2124207"/>
              <a:gd name="connsiteY0" fmla="*/ 0 h 468439"/>
              <a:gd name="connsiteX1" fmla="*/ 1595341 w 2124207"/>
              <a:gd name="connsiteY1" fmla="*/ 178378 h 468439"/>
              <a:gd name="connsiteX2" fmla="*/ 1540112 w 2124207"/>
              <a:gd name="connsiteY2" fmla="*/ 188420 h 468439"/>
              <a:gd name="connsiteX3" fmla="*/ 1523060 w 2124207"/>
              <a:gd name="connsiteY3" fmla="*/ 188680 h 468439"/>
              <a:gd name="connsiteX4" fmla="*/ 1508075 w 2124207"/>
              <a:gd name="connsiteY4" fmla="*/ 194244 h 468439"/>
              <a:gd name="connsiteX5" fmla="*/ 1062104 w 2124207"/>
              <a:gd name="connsiteY5" fmla="*/ 275330 h 468439"/>
              <a:gd name="connsiteX6" fmla="*/ 618206 w 2124207"/>
              <a:gd name="connsiteY6" fmla="*/ 194621 h 468439"/>
              <a:gd name="connsiteX7" fmla="*/ 618158 w 2124207"/>
              <a:gd name="connsiteY7" fmla="*/ 194512 h 468439"/>
              <a:gd name="connsiteX8" fmla="*/ 602454 w 2124207"/>
              <a:gd name="connsiteY8" fmla="*/ 188680 h 468439"/>
              <a:gd name="connsiteX9" fmla="*/ 583976 w 2124207"/>
              <a:gd name="connsiteY9" fmla="*/ 188398 h 468439"/>
              <a:gd name="connsiteX10" fmla="*/ 531361 w 2124207"/>
              <a:gd name="connsiteY10" fmla="*/ 178831 h 468439"/>
              <a:gd name="connsiteX11" fmla="*/ 62851 w 2124207"/>
              <a:gd name="connsiteY11" fmla="*/ 0 h 468439"/>
              <a:gd name="connsiteX12" fmla="*/ 1307 w 2124207"/>
              <a:gd name="connsiteY12" fmla="*/ 45816 h 468439"/>
              <a:gd name="connsiteX13" fmla="*/ 1307 w 2124207"/>
              <a:gd name="connsiteY13" fmla="*/ 82458 h 468439"/>
              <a:gd name="connsiteX14" fmla="*/ 0 w 2124207"/>
              <a:gd name="connsiteY14" fmla="*/ 82220 h 468439"/>
              <a:gd name="connsiteX15" fmla="*/ 0 w 2124207"/>
              <a:gd name="connsiteY15" fmla="*/ 275330 h 468439"/>
              <a:gd name="connsiteX16" fmla="*/ 1062104 w 2124207"/>
              <a:gd name="connsiteY16" fmla="*/ 468439 h 468439"/>
              <a:gd name="connsiteX17" fmla="*/ 2124207 w 2124207"/>
              <a:gd name="connsiteY17" fmla="*/ 275330 h 468439"/>
              <a:gd name="connsiteX18" fmla="*/ 2124207 w 2124207"/>
              <a:gd name="connsiteY18" fmla="*/ 229076 h 468439"/>
              <a:gd name="connsiteX19" fmla="*/ 2124207 w 2124207"/>
              <a:gd name="connsiteY19" fmla="*/ 82220 h 468439"/>
              <a:gd name="connsiteX20" fmla="*/ 2124207 w 2124207"/>
              <a:gd name="connsiteY20" fmla="*/ 45816 h 468439"/>
              <a:gd name="connsiteX21" fmla="*/ 2062663 w 2124207"/>
              <a:gd name="connsiteY21" fmla="*/ 0 h 46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207" h="468439">
                <a:moveTo>
                  <a:pt x="2062663" y="0"/>
                </a:moveTo>
                <a:lnTo>
                  <a:pt x="1595341" y="178378"/>
                </a:lnTo>
                <a:lnTo>
                  <a:pt x="1540112" y="188420"/>
                </a:lnTo>
                <a:lnTo>
                  <a:pt x="1523060" y="188680"/>
                </a:lnTo>
                <a:lnTo>
                  <a:pt x="1508075" y="194244"/>
                </a:lnTo>
                <a:lnTo>
                  <a:pt x="1062104" y="275330"/>
                </a:lnTo>
                <a:lnTo>
                  <a:pt x="618206" y="194621"/>
                </a:lnTo>
                <a:lnTo>
                  <a:pt x="618158" y="194512"/>
                </a:lnTo>
                <a:cubicBezTo>
                  <a:pt x="614358" y="191411"/>
                  <a:pt x="608937" y="189650"/>
                  <a:pt x="602454" y="188680"/>
                </a:cubicBezTo>
                <a:lnTo>
                  <a:pt x="583976" y="188398"/>
                </a:lnTo>
                <a:lnTo>
                  <a:pt x="531361" y="178831"/>
                </a:lnTo>
                <a:lnTo>
                  <a:pt x="62851" y="0"/>
                </a:lnTo>
                <a:cubicBezTo>
                  <a:pt x="28862" y="0"/>
                  <a:pt x="1307" y="20513"/>
                  <a:pt x="1307" y="45816"/>
                </a:cubicBezTo>
                <a:lnTo>
                  <a:pt x="1307" y="82458"/>
                </a:lnTo>
                <a:lnTo>
                  <a:pt x="0" y="82220"/>
                </a:lnTo>
                <a:lnTo>
                  <a:pt x="0" y="275330"/>
                </a:lnTo>
                <a:lnTo>
                  <a:pt x="1062104" y="468439"/>
                </a:lnTo>
                <a:lnTo>
                  <a:pt x="2124207" y="275330"/>
                </a:lnTo>
                <a:lnTo>
                  <a:pt x="2124207" y="229076"/>
                </a:lnTo>
                <a:lnTo>
                  <a:pt x="2124207" y="82220"/>
                </a:lnTo>
                <a:lnTo>
                  <a:pt x="2124207" y="45816"/>
                </a:lnTo>
                <a:cubicBezTo>
                  <a:pt x="2124207" y="20513"/>
                  <a:pt x="2096652" y="0"/>
                  <a:pt x="2062663" y="0"/>
                </a:cubicBezTo>
                <a:close/>
              </a:path>
            </a:pathLst>
          </a:cu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solidFill>
                <a:schemeClr val="tx1"/>
              </a:solidFill>
            </a:endParaRPr>
          </a:p>
        </p:txBody>
      </p:sp>
      <p:sp>
        <p:nvSpPr>
          <p:cNvPr id="34" name="Frihandsfigur: Form 33"/>
          <p:cNvSpPr/>
          <p:nvPr/>
        </p:nvSpPr>
        <p:spPr>
          <a:xfrm flipH="1">
            <a:off x="5449855" y="5137044"/>
            <a:ext cx="2124207" cy="468439"/>
          </a:xfrm>
          <a:custGeom>
            <a:avLst/>
            <a:gdLst>
              <a:gd name="connsiteX0" fmla="*/ 2062663 w 2124207"/>
              <a:gd name="connsiteY0" fmla="*/ 0 h 468439"/>
              <a:gd name="connsiteX1" fmla="*/ 1595341 w 2124207"/>
              <a:gd name="connsiteY1" fmla="*/ 178378 h 468439"/>
              <a:gd name="connsiteX2" fmla="*/ 1540112 w 2124207"/>
              <a:gd name="connsiteY2" fmla="*/ 188420 h 468439"/>
              <a:gd name="connsiteX3" fmla="*/ 1523060 w 2124207"/>
              <a:gd name="connsiteY3" fmla="*/ 188680 h 468439"/>
              <a:gd name="connsiteX4" fmla="*/ 1508075 w 2124207"/>
              <a:gd name="connsiteY4" fmla="*/ 194244 h 468439"/>
              <a:gd name="connsiteX5" fmla="*/ 1062104 w 2124207"/>
              <a:gd name="connsiteY5" fmla="*/ 275330 h 468439"/>
              <a:gd name="connsiteX6" fmla="*/ 618206 w 2124207"/>
              <a:gd name="connsiteY6" fmla="*/ 194621 h 468439"/>
              <a:gd name="connsiteX7" fmla="*/ 618158 w 2124207"/>
              <a:gd name="connsiteY7" fmla="*/ 194512 h 468439"/>
              <a:gd name="connsiteX8" fmla="*/ 602454 w 2124207"/>
              <a:gd name="connsiteY8" fmla="*/ 188680 h 468439"/>
              <a:gd name="connsiteX9" fmla="*/ 583976 w 2124207"/>
              <a:gd name="connsiteY9" fmla="*/ 188398 h 468439"/>
              <a:gd name="connsiteX10" fmla="*/ 531361 w 2124207"/>
              <a:gd name="connsiteY10" fmla="*/ 178831 h 468439"/>
              <a:gd name="connsiteX11" fmla="*/ 62851 w 2124207"/>
              <a:gd name="connsiteY11" fmla="*/ 0 h 468439"/>
              <a:gd name="connsiteX12" fmla="*/ 1307 w 2124207"/>
              <a:gd name="connsiteY12" fmla="*/ 45816 h 468439"/>
              <a:gd name="connsiteX13" fmla="*/ 1307 w 2124207"/>
              <a:gd name="connsiteY13" fmla="*/ 82458 h 468439"/>
              <a:gd name="connsiteX14" fmla="*/ 0 w 2124207"/>
              <a:gd name="connsiteY14" fmla="*/ 82220 h 468439"/>
              <a:gd name="connsiteX15" fmla="*/ 0 w 2124207"/>
              <a:gd name="connsiteY15" fmla="*/ 275330 h 468439"/>
              <a:gd name="connsiteX16" fmla="*/ 1062104 w 2124207"/>
              <a:gd name="connsiteY16" fmla="*/ 468439 h 468439"/>
              <a:gd name="connsiteX17" fmla="*/ 2124207 w 2124207"/>
              <a:gd name="connsiteY17" fmla="*/ 275330 h 468439"/>
              <a:gd name="connsiteX18" fmla="*/ 2124207 w 2124207"/>
              <a:gd name="connsiteY18" fmla="*/ 229076 h 468439"/>
              <a:gd name="connsiteX19" fmla="*/ 2124207 w 2124207"/>
              <a:gd name="connsiteY19" fmla="*/ 82220 h 468439"/>
              <a:gd name="connsiteX20" fmla="*/ 2124207 w 2124207"/>
              <a:gd name="connsiteY20" fmla="*/ 45816 h 468439"/>
              <a:gd name="connsiteX21" fmla="*/ 2062663 w 2124207"/>
              <a:gd name="connsiteY21" fmla="*/ 0 h 46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207" h="468439">
                <a:moveTo>
                  <a:pt x="2062663" y="0"/>
                </a:moveTo>
                <a:lnTo>
                  <a:pt x="1595341" y="178378"/>
                </a:lnTo>
                <a:lnTo>
                  <a:pt x="1540112" y="188420"/>
                </a:lnTo>
                <a:lnTo>
                  <a:pt x="1523060" y="188680"/>
                </a:lnTo>
                <a:lnTo>
                  <a:pt x="1508075" y="194244"/>
                </a:lnTo>
                <a:lnTo>
                  <a:pt x="1062104" y="275330"/>
                </a:lnTo>
                <a:lnTo>
                  <a:pt x="618206" y="194621"/>
                </a:lnTo>
                <a:lnTo>
                  <a:pt x="618158" y="194512"/>
                </a:lnTo>
                <a:cubicBezTo>
                  <a:pt x="614358" y="191411"/>
                  <a:pt x="608937" y="189650"/>
                  <a:pt x="602454" y="188680"/>
                </a:cubicBezTo>
                <a:lnTo>
                  <a:pt x="583976" y="188398"/>
                </a:lnTo>
                <a:lnTo>
                  <a:pt x="531361" y="178831"/>
                </a:lnTo>
                <a:lnTo>
                  <a:pt x="62851" y="0"/>
                </a:lnTo>
                <a:cubicBezTo>
                  <a:pt x="28862" y="0"/>
                  <a:pt x="1307" y="20513"/>
                  <a:pt x="1307" y="45816"/>
                </a:cubicBezTo>
                <a:lnTo>
                  <a:pt x="1307" y="82458"/>
                </a:lnTo>
                <a:lnTo>
                  <a:pt x="0" y="82220"/>
                </a:lnTo>
                <a:lnTo>
                  <a:pt x="0" y="275330"/>
                </a:lnTo>
                <a:lnTo>
                  <a:pt x="1062104" y="468439"/>
                </a:lnTo>
                <a:lnTo>
                  <a:pt x="2124207" y="275330"/>
                </a:lnTo>
                <a:lnTo>
                  <a:pt x="2124207" y="229076"/>
                </a:lnTo>
                <a:lnTo>
                  <a:pt x="2124207" y="82220"/>
                </a:lnTo>
                <a:lnTo>
                  <a:pt x="2124207" y="45816"/>
                </a:lnTo>
                <a:cubicBezTo>
                  <a:pt x="2124207" y="20513"/>
                  <a:pt x="2096652" y="0"/>
                  <a:pt x="2062663" y="0"/>
                </a:cubicBezTo>
                <a:close/>
              </a:path>
            </a:pathLst>
          </a:cu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35" name="Frihandsfigur: Form 34"/>
          <p:cNvSpPr/>
          <p:nvPr/>
        </p:nvSpPr>
        <p:spPr>
          <a:xfrm rot="19996944" flipH="1">
            <a:off x="5433308" y="5137044"/>
            <a:ext cx="2124207" cy="468439"/>
          </a:xfrm>
          <a:custGeom>
            <a:avLst/>
            <a:gdLst>
              <a:gd name="connsiteX0" fmla="*/ 2062663 w 2124207"/>
              <a:gd name="connsiteY0" fmla="*/ 0 h 468439"/>
              <a:gd name="connsiteX1" fmla="*/ 1595341 w 2124207"/>
              <a:gd name="connsiteY1" fmla="*/ 178378 h 468439"/>
              <a:gd name="connsiteX2" fmla="*/ 1540112 w 2124207"/>
              <a:gd name="connsiteY2" fmla="*/ 188420 h 468439"/>
              <a:gd name="connsiteX3" fmla="*/ 1523060 w 2124207"/>
              <a:gd name="connsiteY3" fmla="*/ 188680 h 468439"/>
              <a:gd name="connsiteX4" fmla="*/ 1508075 w 2124207"/>
              <a:gd name="connsiteY4" fmla="*/ 194244 h 468439"/>
              <a:gd name="connsiteX5" fmla="*/ 1062104 w 2124207"/>
              <a:gd name="connsiteY5" fmla="*/ 275330 h 468439"/>
              <a:gd name="connsiteX6" fmla="*/ 618206 w 2124207"/>
              <a:gd name="connsiteY6" fmla="*/ 194621 h 468439"/>
              <a:gd name="connsiteX7" fmla="*/ 618158 w 2124207"/>
              <a:gd name="connsiteY7" fmla="*/ 194512 h 468439"/>
              <a:gd name="connsiteX8" fmla="*/ 602454 w 2124207"/>
              <a:gd name="connsiteY8" fmla="*/ 188680 h 468439"/>
              <a:gd name="connsiteX9" fmla="*/ 583976 w 2124207"/>
              <a:gd name="connsiteY9" fmla="*/ 188398 h 468439"/>
              <a:gd name="connsiteX10" fmla="*/ 531361 w 2124207"/>
              <a:gd name="connsiteY10" fmla="*/ 178831 h 468439"/>
              <a:gd name="connsiteX11" fmla="*/ 62851 w 2124207"/>
              <a:gd name="connsiteY11" fmla="*/ 0 h 468439"/>
              <a:gd name="connsiteX12" fmla="*/ 1307 w 2124207"/>
              <a:gd name="connsiteY12" fmla="*/ 45816 h 468439"/>
              <a:gd name="connsiteX13" fmla="*/ 1307 w 2124207"/>
              <a:gd name="connsiteY13" fmla="*/ 82458 h 468439"/>
              <a:gd name="connsiteX14" fmla="*/ 0 w 2124207"/>
              <a:gd name="connsiteY14" fmla="*/ 82220 h 468439"/>
              <a:gd name="connsiteX15" fmla="*/ 0 w 2124207"/>
              <a:gd name="connsiteY15" fmla="*/ 275330 h 468439"/>
              <a:gd name="connsiteX16" fmla="*/ 1062104 w 2124207"/>
              <a:gd name="connsiteY16" fmla="*/ 468439 h 468439"/>
              <a:gd name="connsiteX17" fmla="*/ 2124207 w 2124207"/>
              <a:gd name="connsiteY17" fmla="*/ 275330 h 468439"/>
              <a:gd name="connsiteX18" fmla="*/ 2124207 w 2124207"/>
              <a:gd name="connsiteY18" fmla="*/ 229076 h 468439"/>
              <a:gd name="connsiteX19" fmla="*/ 2124207 w 2124207"/>
              <a:gd name="connsiteY19" fmla="*/ 82220 h 468439"/>
              <a:gd name="connsiteX20" fmla="*/ 2124207 w 2124207"/>
              <a:gd name="connsiteY20" fmla="*/ 45816 h 468439"/>
              <a:gd name="connsiteX21" fmla="*/ 2062663 w 2124207"/>
              <a:gd name="connsiteY21" fmla="*/ 0 h 46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207" h="468439">
                <a:moveTo>
                  <a:pt x="2062663" y="0"/>
                </a:moveTo>
                <a:lnTo>
                  <a:pt x="1595341" y="178378"/>
                </a:lnTo>
                <a:lnTo>
                  <a:pt x="1540112" y="188420"/>
                </a:lnTo>
                <a:lnTo>
                  <a:pt x="1523060" y="188680"/>
                </a:lnTo>
                <a:lnTo>
                  <a:pt x="1508075" y="194244"/>
                </a:lnTo>
                <a:lnTo>
                  <a:pt x="1062104" y="275330"/>
                </a:lnTo>
                <a:lnTo>
                  <a:pt x="618206" y="194621"/>
                </a:lnTo>
                <a:lnTo>
                  <a:pt x="618158" y="194512"/>
                </a:lnTo>
                <a:cubicBezTo>
                  <a:pt x="614358" y="191411"/>
                  <a:pt x="608937" y="189650"/>
                  <a:pt x="602454" y="188680"/>
                </a:cubicBezTo>
                <a:lnTo>
                  <a:pt x="583976" y="188398"/>
                </a:lnTo>
                <a:lnTo>
                  <a:pt x="531361" y="178831"/>
                </a:lnTo>
                <a:lnTo>
                  <a:pt x="62851" y="0"/>
                </a:lnTo>
                <a:cubicBezTo>
                  <a:pt x="28862" y="0"/>
                  <a:pt x="1307" y="20513"/>
                  <a:pt x="1307" y="45816"/>
                </a:cubicBezTo>
                <a:lnTo>
                  <a:pt x="1307" y="82458"/>
                </a:lnTo>
                <a:lnTo>
                  <a:pt x="0" y="82220"/>
                </a:lnTo>
                <a:lnTo>
                  <a:pt x="0" y="275330"/>
                </a:lnTo>
                <a:lnTo>
                  <a:pt x="1062104" y="468439"/>
                </a:lnTo>
                <a:lnTo>
                  <a:pt x="2124207" y="275330"/>
                </a:lnTo>
                <a:lnTo>
                  <a:pt x="2124207" y="229076"/>
                </a:lnTo>
                <a:lnTo>
                  <a:pt x="2124207" y="82220"/>
                </a:lnTo>
                <a:lnTo>
                  <a:pt x="2124207" y="45816"/>
                </a:lnTo>
                <a:cubicBezTo>
                  <a:pt x="2124207" y="20513"/>
                  <a:pt x="2096652" y="0"/>
                  <a:pt x="2062663" y="0"/>
                </a:cubicBezTo>
                <a:close/>
              </a:path>
            </a:pathLst>
          </a:cu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solidFill>
                <a:schemeClr val="tx1"/>
              </a:solidFill>
            </a:endParaRPr>
          </a:p>
        </p:txBody>
      </p:sp>
      <p:cxnSp>
        <p:nvCxnSpPr>
          <p:cNvPr id="11" name="Rak pilkoppling 10"/>
          <p:cNvCxnSpPr>
            <a:stCxn id="33" idx="5"/>
          </p:cNvCxnSpPr>
          <p:nvPr/>
        </p:nvCxnSpPr>
        <p:spPr>
          <a:xfrm flipV="1">
            <a:off x="2847685" y="4684536"/>
            <a:ext cx="0" cy="727838"/>
          </a:xfrm>
          <a:prstGeom prst="straightConnector1">
            <a:avLst/>
          </a:prstGeom>
          <a:ln w="6350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6" name="Rak pilkoppling 35"/>
          <p:cNvCxnSpPr/>
          <p:nvPr/>
        </p:nvCxnSpPr>
        <p:spPr>
          <a:xfrm flipH="1" flipV="1">
            <a:off x="6126480" y="4797552"/>
            <a:ext cx="368931" cy="614822"/>
          </a:xfrm>
          <a:prstGeom prst="straightConnector1">
            <a:avLst/>
          </a:prstGeom>
          <a:ln w="63500">
            <a:solidFill>
              <a:schemeClr val="accent1"/>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8" name="Rak pilkoppling 37"/>
          <p:cNvCxnSpPr/>
          <p:nvPr/>
        </p:nvCxnSpPr>
        <p:spPr>
          <a:xfrm flipV="1">
            <a:off x="2152741" y="5306414"/>
            <a:ext cx="0" cy="598138"/>
          </a:xfrm>
          <a:prstGeom prst="straightConnector1">
            <a:avLst/>
          </a:prstGeom>
          <a:ln w="76200">
            <a:solidFill>
              <a:srgbClr val="FF0000">
                <a:alpha val="50196"/>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Rak pilkoppling 40"/>
          <p:cNvCxnSpPr/>
          <p:nvPr/>
        </p:nvCxnSpPr>
        <p:spPr>
          <a:xfrm flipV="1">
            <a:off x="3603589" y="5306414"/>
            <a:ext cx="0" cy="598138"/>
          </a:xfrm>
          <a:prstGeom prst="straightConnector1">
            <a:avLst/>
          </a:prstGeom>
          <a:ln w="76200">
            <a:solidFill>
              <a:srgbClr val="FF0000">
                <a:alpha val="50196"/>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Rak pilkoppling 41"/>
          <p:cNvCxnSpPr/>
          <p:nvPr/>
        </p:nvCxnSpPr>
        <p:spPr>
          <a:xfrm flipV="1">
            <a:off x="5809558" y="5306414"/>
            <a:ext cx="0" cy="598138"/>
          </a:xfrm>
          <a:prstGeom prst="straightConnector1">
            <a:avLst/>
          </a:prstGeom>
          <a:ln w="76200">
            <a:solidFill>
              <a:srgbClr val="FF0000">
                <a:alpha val="50196"/>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Rak pilkoppling 42"/>
          <p:cNvCxnSpPr/>
          <p:nvPr/>
        </p:nvCxnSpPr>
        <p:spPr>
          <a:xfrm flipV="1">
            <a:off x="7278694" y="4864608"/>
            <a:ext cx="0" cy="1002494"/>
          </a:xfrm>
          <a:prstGeom prst="straightConnector1">
            <a:avLst/>
          </a:prstGeom>
          <a:ln w="76200">
            <a:solidFill>
              <a:srgbClr val="FF0000">
                <a:alpha val="50196"/>
              </a:srgbClr>
            </a:solidFill>
            <a:tailEnd type="triangle"/>
          </a:ln>
        </p:spPr>
        <p:style>
          <a:lnRef idx="1">
            <a:schemeClr val="accent1"/>
          </a:lnRef>
          <a:fillRef idx="0">
            <a:schemeClr val="accent1"/>
          </a:fillRef>
          <a:effectRef idx="0">
            <a:schemeClr val="accent1"/>
          </a:effectRef>
          <a:fontRef idx="minor">
            <a:schemeClr val="tx1"/>
          </a:fontRef>
        </p:style>
      </p:cxnSp>
      <p:sp>
        <p:nvSpPr>
          <p:cNvPr id="45" name="textruta 44"/>
          <p:cNvSpPr txBox="1"/>
          <p:nvPr/>
        </p:nvSpPr>
        <p:spPr>
          <a:xfrm>
            <a:off x="2961740" y="4556378"/>
            <a:ext cx="1600804" cy="369332"/>
          </a:xfrm>
          <a:prstGeom prst="rect">
            <a:avLst/>
          </a:prstGeom>
          <a:noFill/>
        </p:spPr>
        <p:txBody>
          <a:bodyPr wrap="square" rtlCol="0">
            <a:spAutoFit/>
          </a:bodyPr>
          <a:lstStyle/>
          <a:p>
            <a:r>
              <a:rPr lang="en-GB" dirty="0"/>
              <a:t>force of lift</a:t>
            </a:r>
          </a:p>
        </p:txBody>
      </p:sp>
      <p:sp>
        <p:nvSpPr>
          <p:cNvPr id="46" name="textruta 45"/>
          <p:cNvSpPr txBox="1"/>
          <p:nvPr/>
        </p:nvSpPr>
        <p:spPr>
          <a:xfrm>
            <a:off x="1134213" y="5523024"/>
            <a:ext cx="1748318" cy="369332"/>
          </a:xfrm>
          <a:prstGeom prst="rect">
            <a:avLst/>
          </a:prstGeom>
          <a:noFill/>
        </p:spPr>
        <p:txBody>
          <a:bodyPr wrap="square" rtlCol="0">
            <a:spAutoFit/>
          </a:bodyPr>
          <a:lstStyle/>
          <a:p>
            <a:r>
              <a:rPr lang="en-GB" dirty="0"/>
              <a:t>updraft</a:t>
            </a:r>
          </a:p>
        </p:txBody>
      </p:sp>
      <p:sp>
        <p:nvSpPr>
          <p:cNvPr id="47" name="textruta 46"/>
          <p:cNvSpPr txBox="1"/>
          <p:nvPr/>
        </p:nvSpPr>
        <p:spPr>
          <a:xfrm>
            <a:off x="66748" y="4925710"/>
            <a:ext cx="1748318" cy="646331"/>
          </a:xfrm>
          <a:prstGeom prst="rect">
            <a:avLst/>
          </a:prstGeom>
          <a:noFill/>
        </p:spPr>
        <p:txBody>
          <a:bodyPr wrap="square" rtlCol="0">
            <a:spAutoFit/>
          </a:bodyPr>
          <a:lstStyle/>
          <a:p>
            <a:r>
              <a:rPr lang="en-GB" dirty="0"/>
              <a:t>View from behind</a:t>
            </a:r>
          </a:p>
        </p:txBody>
      </p:sp>
      <p:sp>
        <p:nvSpPr>
          <p:cNvPr id="48" name="textruta 47"/>
          <p:cNvSpPr txBox="1"/>
          <p:nvPr/>
        </p:nvSpPr>
        <p:spPr>
          <a:xfrm>
            <a:off x="66748" y="1707507"/>
            <a:ext cx="1748318" cy="646331"/>
          </a:xfrm>
          <a:prstGeom prst="rect">
            <a:avLst/>
          </a:prstGeom>
          <a:noFill/>
        </p:spPr>
        <p:txBody>
          <a:bodyPr wrap="square" rtlCol="0">
            <a:spAutoFit/>
          </a:bodyPr>
          <a:lstStyle/>
          <a:p>
            <a:r>
              <a:rPr lang="en-GB" dirty="0"/>
              <a:t>View from above</a:t>
            </a:r>
          </a:p>
        </p:txBody>
      </p:sp>
      <p:sp>
        <p:nvSpPr>
          <p:cNvPr id="49" name="Båge 48"/>
          <p:cNvSpPr/>
          <p:nvPr/>
        </p:nvSpPr>
        <p:spPr>
          <a:xfrm>
            <a:off x="3990661" y="1610132"/>
            <a:ext cx="2641755" cy="2581029"/>
          </a:xfrm>
          <a:prstGeom prst="arc">
            <a:avLst/>
          </a:prstGeom>
          <a:ln w="19050">
            <a:solidFill>
              <a:schemeClr val="tx1">
                <a:alpha val="50000"/>
              </a:schemeClr>
            </a:solidFill>
            <a:prstDash val="lgDash"/>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51" name="Rak koppling 50"/>
          <p:cNvCxnSpPr>
            <a:stCxn id="7" idx="3"/>
          </p:cNvCxnSpPr>
          <p:nvPr/>
        </p:nvCxnSpPr>
        <p:spPr>
          <a:xfrm flipH="1" flipV="1">
            <a:off x="2847685" y="1553190"/>
            <a:ext cx="30" cy="1638911"/>
          </a:xfrm>
          <a:prstGeom prst="line">
            <a:avLst/>
          </a:prstGeom>
          <a:ln w="19050">
            <a:solidFill>
              <a:schemeClr val="tx1">
                <a:alpha val="50000"/>
              </a:schemeClr>
            </a:solidFill>
            <a:prstDash val="lgDash"/>
            <a:headEnd type="none"/>
            <a:tailEnd type="arrow"/>
          </a:ln>
        </p:spPr>
        <p:style>
          <a:lnRef idx="1">
            <a:schemeClr val="accent1"/>
          </a:lnRef>
          <a:fillRef idx="0">
            <a:schemeClr val="accent1"/>
          </a:fillRef>
          <a:effectRef idx="0">
            <a:schemeClr val="accent1"/>
          </a:effectRef>
          <a:fontRef idx="minor">
            <a:schemeClr val="tx1"/>
          </a:fontRef>
        </p:style>
      </p:cxnSp>
      <p:cxnSp>
        <p:nvCxnSpPr>
          <p:cNvPr id="52" name="Rak pilkoppling 51"/>
          <p:cNvCxnSpPr/>
          <p:nvPr/>
        </p:nvCxnSpPr>
        <p:spPr>
          <a:xfrm flipH="1">
            <a:off x="6112031" y="5421158"/>
            <a:ext cx="383381" cy="2912"/>
          </a:xfrm>
          <a:prstGeom prst="straightConnector1">
            <a:avLst/>
          </a:prstGeom>
          <a:ln w="38100">
            <a:solidFill>
              <a:schemeClr val="accent1"/>
            </a:solidFill>
            <a:prstDash val="sysDash"/>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6" name="Rak pilkoppling 55"/>
          <p:cNvCxnSpPr/>
          <p:nvPr/>
        </p:nvCxnSpPr>
        <p:spPr>
          <a:xfrm flipH="1" flipV="1">
            <a:off x="6494638" y="4751571"/>
            <a:ext cx="7676" cy="656414"/>
          </a:xfrm>
          <a:prstGeom prst="straightConnector1">
            <a:avLst/>
          </a:prstGeom>
          <a:ln w="38100">
            <a:solidFill>
              <a:schemeClr val="accent1"/>
            </a:solidFill>
            <a:prstDash val="sysDash"/>
            <a:headEnd type="ova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26483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err="1"/>
              <a:t>Implications</a:t>
            </a:r>
            <a:endParaRPr lang="en-GB" dirty="0"/>
          </a:p>
        </p:txBody>
      </p:sp>
      <p:sp>
        <p:nvSpPr>
          <p:cNvPr id="6" name="Platshållare för innehåll 5"/>
          <p:cNvSpPr>
            <a:spLocks noGrp="1"/>
          </p:cNvSpPr>
          <p:nvPr>
            <p:ph idx="1"/>
          </p:nvPr>
        </p:nvSpPr>
        <p:spPr/>
        <p:txBody>
          <a:bodyPr/>
          <a:lstStyle/>
          <a:p>
            <a:pPr marL="342900" indent="-342900">
              <a:buFont typeface="Arial" panose="020B0604020202020204" pitchFamily="34" charset="0"/>
              <a:buChar char="•"/>
            </a:pPr>
            <a:r>
              <a:rPr lang="en-GB" dirty="0"/>
              <a:t>Well</a:t>
            </a:r>
            <a:r>
              <a:rPr lang="sv-SE" dirty="0"/>
              <a:t>-</a:t>
            </a:r>
            <a:r>
              <a:rPr lang="sv-SE" dirty="0" err="1"/>
              <a:t>defined</a:t>
            </a:r>
            <a:r>
              <a:rPr lang="sv-SE" dirty="0"/>
              <a:t> </a:t>
            </a:r>
            <a:r>
              <a:rPr lang="sv-SE" dirty="0" err="1"/>
              <a:t>zone</a:t>
            </a:r>
            <a:r>
              <a:rPr lang="sv-SE" dirty="0"/>
              <a:t> </a:t>
            </a:r>
            <a:r>
              <a:rPr lang="sv-SE" dirty="0" err="1"/>
              <a:t>of</a:t>
            </a:r>
            <a:r>
              <a:rPr lang="sv-SE" dirty="0"/>
              <a:t> </a:t>
            </a:r>
            <a:r>
              <a:rPr lang="sv-SE" dirty="0" err="1"/>
              <a:t>high</a:t>
            </a:r>
            <a:r>
              <a:rPr lang="sv-SE" dirty="0"/>
              <a:t> </a:t>
            </a:r>
            <a:r>
              <a:rPr lang="sv-SE" dirty="0" err="1"/>
              <a:t>updraft</a:t>
            </a:r>
            <a:r>
              <a:rPr lang="sv-SE" dirty="0"/>
              <a:t> =&gt; </a:t>
            </a:r>
            <a:r>
              <a:rPr lang="sv-SE" dirty="0" err="1"/>
              <a:t>good</a:t>
            </a:r>
            <a:r>
              <a:rPr lang="sv-SE" dirty="0"/>
              <a:t> </a:t>
            </a:r>
            <a:r>
              <a:rPr lang="sv-SE" dirty="0" err="1"/>
              <a:t>control</a:t>
            </a:r>
            <a:endParaRPr lang="sv-SE" dirty="0"/>
          </a:p>
          <a:p>
            <a:endParaRPr lang="sv-SE" dirty="0"/>
          </a:p>
          <a:p>
            <a:pPr marL="342900" indent="-342900">
              <a:buFont typeface="Arial" panose="020B0604020202020204" pitchFamily="34" charset="0"/>
              <a:buChar char="•"/>
            </a:pPr>
            <a:r>
              <a:rPr lang="sv-SE" dirty="0"/>
              <a:t>New </a:t>
            </a:r>
            <a:r>
              <a:rPr lang="sv-SE" dirty="0" err="1"/>
              <a:t>objective</a:t>
            </a:r>
            <a:r>
              <a:rPr lang="sv-SE" dirty="0"/>
              <a:t>: </a:t>
            </a:r>
            <a:r>
              <a:rPr lang="sv-SE" dirty="0" err="1"/>
              <a:t>find</a:t>
            </a:r>
            <a:r>
              <a:rPr lang="sv-SE" dirty="0"/>
              <a:t> </a:t>
            </a:r>
            <a:r>
              <a:rPr lang="sv-SE" dirty="0" err="1"/>
              <a:t>shape</a:t>
            </a:r>
            <a:r>
              <a:rPr lang="sv-SE" dirty="0"/>
              <a:t> </a:t>
            </a:r>
            <a:r>
              <a:rPr lang="sv-SE" dirty="0" err="1"/>
              <a:t>of</a:t>
            </a:r>
            <a:r>
              <a:rPr lang="sv-SE" dirty="0"/>
              <a:t> hands </a:t>
            </a:r>
            <a:r>
              <a:rPr lang="sv-SE" dirty="0" err="1"/>
              <a:t>which</a:t>
            </a:r>
            <a:r>
              <a:rPr lang="sv-SE" dirty="0"/>
              <a:t> gives </a:t>
            </a:r>
            <a:r>
              <a:rPr lang="sv-SE" dirty="0" err="1"/>
              <a:t>largest</a:t>
            </a:r>
            <a:r>
              <a:rPr lang="sv-SE" dirty="0"/>
              <a:t> </a:t>
            </a:r>
            <a:r>
              <a:rPr lang="sv-SE" dirty="0" err="1"/>
              <a:t>updraft</a:t>
            </a:r>
            <a:endParaRPr lang="sv-SE" dirty="0"/>
          </a:p>
          <a:p>
            <a:pPr marL="342900" indent="-342900">
              <a:buFont typeface="Arial" panose="020B0604020202020204" pitchFamily="34" charset="0"/>
              <a:buChar char="•"/>
            </a:pPr>
            <a:endParaRPr lang="sv-SE" dirty="0"/>
          </a:p>
          <a:p>
            <a:pPr marL="342900" indent="-342900">
              <a:buFont typeface="Arial" panose="020B0604020202020204" pitchFamily="34" charset="0"/>
              <a:buChar char="•"/>
            </a:pPr>
            <a:endParaRPr lang="sv-SE" dirty="0"/>
          </a:p>
          <a:p>
            <a:pPr marL="342900" indent="-342900">
              <a:buFont typeface="Arial" panose="020B0604020202020204" pitchFamily="34" charset="0"/>
              <a:buChar char="•"/>
            </a:pPr>
            <a:endParaRPr lang="en-GB" dirty="0"/>
          </a:p>
        </p:txBody>
      </p:sp>
      <p:sp>
        <p:nvSpPr>
          <p:cNvPr id="3" name="Platshållare för datum 2"/>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1</a:t>
            </a:fld>
            <a:endParaRPr lang="en-GB"/>
          </a:p>
        </p:txBody>
      </p:sp>
      <p:sp>
        <p:nvSpPr>
          <p:cNvPr id="4" name="Platshållare för sidfot 3"/>
          <p:cNvSpPr>
            <a:spLocks noGrp="1"/>
          </p:cNvSpPr>
          <p:nvPr>
            <p:ph type="ftr" sz="quarter" idx="11"/>
          </p:nvPr>
        </p:nvSpPr>
        <p:spPr/>
        <p:txBody>
          <a:bodyPr/>
          <a:lstStyle/>
          <a:p>
            <a:r>
              <a:rPr lang="en-GB"/>
              <a:t>KTH IPT Team</a:t>
            </a:r>
          </a:p>
        </p:txBody>
      </p:sp>
    </p:spTree>
    <p:extLst>
      <p:ext uri="{BB962C8B-B14F-4D97-AF65-F5344CB8AC3E}">
        <p14:creationId xmlns:p14="http://schemas.microsoft.com/office/powerpoint/2010/main" val="27649766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Hand parameters</a:t>
            </a:r>
          </a:p>
        </p:txBody>
      </p:sp>
      <p:sp>
        <p:nvSpPr>
          <p:cNvPr id="3" name="Platshållare för innehåll 2"/>
          <p:cNvSpPr>
            <a:spLocks noGrp="1"/>
          </p:cNvSpPr>
          <p:nvPr>
            <p:ph idx="1"/>
          </p:nvPr>
        </p:nvSpPr>
        <p:spPr/>
        <p:txBody>
          <a:bodyPr/>
          <a:lstStyle/>
          <a:p>
            <a:pPr marL="342900" indent="-342900">
              <a:buFont typeface="Arial" panose="020B0604020202020204" pitchFamily="34" charset="0"/>
              <a:buChar char="•"/>
            </a:pPr>
            <a:r>
              <a:rPr lang="en-GB" dirty="0"/>
              <a:t>Orientation</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Angle between hand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Angle from horizontal direction (pitch)</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Spread of finger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Hand curvature</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2</a:t>
            </a:fld>
            <a:endParaRPr lang="en-GB"/>
          </a:p>
        </p:txBody>
      </p:sp>
      <p:sp>
        <p:nvSpPr>
          <p:cNvPr id="6" name="Platshållare för sidfot 5"/>
          <p:cNvSpPr>
            <a:spLocks noGrp="1"/>
          </p:cNvSpPr>
          <p:nvPr>
            <p:ph type="ftr" sz="quarter" idx="11"/>
          </p:nvPr>
        </p:nvSpPr>
        <p:spPr/>
        <p:txBody>
          <a:bodyPr/>
          <a:lstStyle/>
          <a:p>
            <a:r>
              <a:rPr lang="en-GB"/>
              <a:t>KTH IPT Team</a:t>
            </a:r>
          </a:p>
        </p:txBody>
      </p:sp>
      <p:sp>
        <p:nvSpPr>
          <p:cNvPr id="9" name="Rektangel: rundade hörn 8"/>
          <p:cNvSpPr/>
          <p:nvPr/>
        </p:nvSpPr>
        <p:spPr>
          <a:xfrm>
            <a:off x="-653669" y="2052485"/>
            <a:ext cx="160988" cy="7112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 name="Rektangel: rundade hörn 9"/>
          <p:cNvSpPr/>
          <p:nvPr/>
        </p:nvSpPr>
        <p:spPr>
          <a:xfrm>
            <a:off x="-460289" y="2052485"/>
            <a:ext cx="172380" cy="7112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 name="Rektangel: rundade hörn 6"/>
          <p:cNvSpPr/>
          <p:nvPr/>
        </p:nvSpPr>
        <p:spPr>
          <a:xfrm>
            <a:off x="-851999" y="2191031"/>
            <a:ext cx="165938"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1" name="Rektangel: rundade hörn 10"/>
          <p:cNvSpPr/>
          <p:nvPr/>
        </p:nvSpPr>
        <p:spPr>
          <a:xfrm>
            <a:off x="-258491" y="2341213"/>
            <a:ext cx="126411" cy="42247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8" name="Frihandsfigur: Form 27"/>
          <p:cNvSpPr/>
          <p:nvPr/>
        </p:nvSpPr>
        <p:spPr>
          <a:xfrm>
            <a:off x="-870788" y="2674970"/>
            <a:ext cx="756643" cy="98069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643" h="980695">
                <a:moveTo>
                  <a:pt x="118099" y="7620"/>
                </a:moveTo>
                <a:lnTo>
                  <a:pt x="653784" y="0"/>
                </a:lnTo>
                <a:cubicBezTo>
                  <a:pt x="719008" y="0"/>
                  <a:pt x="754103" y="108755"/>
                  <a:pt x="754103" y="173979"/>
                </a:cubicBezTo>
                <a:cubicBezTo>
                  <a:pt x="754950" y="269633"/>
                  <a:pt x="755796" y="324647"/>
                  <a:pt x="756643" y="420301"/>
                </a:cubicBezTo>
                <a:cubicBezTo>
                  <a:pt x="756643" y="485525"/>
                  <a:pt x="719008" y="556180"/>
                  <a:pt x="669024" y="627300"/>
                </a:cubicBezTo>
                <a:lnTo>
                  <a:pt x="588496" y="716200"/>
                </a:lnTo>
                <a:lnTo>
                  <a:pt x="588496" y="911925"/>
                </a:lnTo>
                <a:cubicBezTo>
                  <a:pt x="588496" y="947801"/>
                  <a:pt x="559412" y="976885"/>
                  <a:pt x="523536" y="976885"/>
                </a:cubicBezTo>
                <a:lnTo>
                  <a:pt x="193219" y="980695"/>
                </a:lnTo>
                <a:cubicBezTo>
                  <a:pt x="157343" y="980695"/>
                  <a:pt x="135879" y="957326"/>
                  <a:pt x="135879" y="921450"/>
                </a:cubicBezTo>
                <a:lnTo>
                  <a:pt x="118099" y="716200"/>
                </a:lnTo>
                <a:cubicBezTo>
                  <a:pt x="52875" y="716200"/>
                  <a:pt x="0" y="663325"/>
                  <a:pt x="0" y="598101"/>
                </a:cubicBezTo>
                <a:cubicBezTo>
                  <a:pt x="1693" y="416934"/>
                  <a:pt x="5927" y="238306"/>
                  <a:pt x="7620" y="57139"/>
                </a:cubicBezTo>
                <a:cubicBezTo>
                  <a:pt x="7620" y="-8085"/>
                  <a:pt x="52875" y="7620"/>
                  <a:pt x="118099" y="762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9" name="Frihandsfigur: Form 28"/>
          <p:cNvSpPr/>
          <p:nvPr/>
        </p:nvSpPr>
        <p:spPr>
          <a:xfrm>
            <a:off x="-1087908" y="2737755"/>
            <a:ext cx="409378"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2" name="Frihandsfigur: Form 71"/>
          <p:cNvSpPr/>
          <p:nvPr/>
        </p:nvSpPr>
        <p:spPr>
          <a:xfrm flipH="1">
            <a:off x="-2061671" y="4057845"/>
            <a:ext cx="973763" cy="1603180"/>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3" name="Frihandsfigur: Form 72"/>
          <p:cNvSpPr/>
          <p:nvPr/>
        </p:nvSpPr>
        <p:spPr>
          <a:xfrm>
            <a:off x="-1074080" y="4057845"/>
            <a:ext cx="973763" cy="1603180"/>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nvGrpSpPr>
          <p:cNvPr id="86" name="Grupp 85"/>
          <p:cNvGrpSpPr/>
          <p:nvPr/>
        </p:nvGrpSpPr>
        <p:grpSpPr>
          <a:xfrm>
            <a:off x="4007468" y="1419144"/>
            <a:ext cx="2159352" cy="563095"/>
            <a:chOff x="3563268" y="1270790"/>
            <a:chExt cx="4201047" cy="1095509"/>
          </a:xfrm>
        </p:grpSpPr>
        <p:sp>
          <p:nvSpPr>
            <p:cNvPr id="78" name="Frihandsfigur: Form 77"/>
            <p:cNvSpPr/>
            <p:nvPr/>
          </p:nvSpPr>
          <p:spPr>
            <a:xfrm rot="16200000">
              <a:off x="4859368" y="1245109"/>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9" name="Frihandsfigur: Form 78"/>
            <p:cNvSpPr/>
            <p:nvPr/>
          </p:nvSpPr>
          <p:spPr>
            <a:xfrm rot="5400000" flipH="1">
              <a:off x="3773395" y="1246318"/>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80" name="Frihandsfigur: Form 79"/>
            <p:cNvSpPr/>
            <p:nvPr/>
          </p:nvSpPr>
          <p:spPr>
            <a:xfrm>
              <a:off x="7114146" y="1270790"/>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81" name="Frihandsfigur: Form 80"/>
            <p:cNvSpPr/>
            <p:nvPr/>
          </p:nvSpPr>
          <p:spPr>
            <a:xfrm flipH="1">
              <a:off x="6696126" y="1295876"/>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sp>
        <p:nvSpPr>
          <p:cNvPr id="87" name="Frihandsfigur: Form 86"/>
          <p:cNvSpPr/>
          <p:nvPr/>
        </p:nvSpPr>
        <p:spPr>
          <a:xfrm>
            <a:off x="5619475" y="3613536"/>
            <a:ext cx="479121" cy="656268"/>
          </a:xfrm>
          <a:custGeom>
            <a:avLst/>
            <a:gdLst>
              <a:gd name="connsiteX0" fmla="*/ 461071 w 1170433"/>
              <a:gd name="connsiteY0" fmla="*/ 0 h 1603180"/>
              <a:gd name="connsiteX1" fmla="*/ 568395 w 1170433"/>
              <a:gd name="connsiteY1" fmla="*/ 0 h 1603180"/>
              <a:gd name="connsiteX2" fmla="*/ 595227 w 1170433"/>
              <a:gd name="connsiteY2" fmla="*/ 26832 h 1603180"/>
              <a:gd name="connsiteX3" fmla="*/ 595227 w 1170433"/>
              <a:gd name="connsiteY3" fmla="*/ 626406 h 1603180"/>
              <a:gd name="connsiteX4" fmla="*/ 673622 w 1170433"/>
              <a:gd name="connsiteY4" fmla="*/ 625291 h 1603180"/>
              <a:gd name="connsiteX5" fmla="*/ 764060 w 1170433"/>
              <a:gd name="connsiteY5" fmla="*/ 62898 h 1603180"/>
              <a:gd name="connsiteX6" fmla="*/ 796988 w 1170433"/>
              <a:gd name="connsiteY6" fmla="*/ 39093 h 1603180"/>
              <a:gd name="connsiteX7" fmla="*/ 910448 w 1170433"/>
              <a:gd name="connsiteY7" fmla="*/ 57338 h 1603180"/>
              <a:gd name="connsiteX8" fmla="*/ 934253 w 1170433"/>
              <a:gd name="connsiteY8" fmla="*/ 90266 h 1603180"/>
              <a:gd name="connsiteX9" fmla="*/ 848617 w 1170433"/>
              <a:gd name="connsiteY9" fmla="*/ 622802 h 1603180"/>
              <a:gd name="connsiteX10" fmla="*/ 870904 w 1170433"/>
              <a:gd name="connsiteY10" fmla="*/ 622485 h 1603180"/>
              <a:gd name="connsiteX11" fmla="*/ 900593 w 1170433"/>
              <a:gd name="connsiteY11" fmla="*/ 634866 h 1603180"/>
              <a:gd name="connsiteX12" fmla="*/ 1053923 w 1170433"/>
              <a:gd name="connsiteY12" fmla="*/ 306749 h 1603180"/>
              <a:gd name="connsiteX13" fmla="*/ 1065821 w 1170433"/>
              <a:gd name="connsiteY13" fmla="*/ 295864 h 1603180"/>
              <a:gd name="connsiteX14" fmla="*/ 1081931 w 1170433"/>
              <a:gd name="connsiteY14" fmla="*/ 296581 h 1603180"/>
              <a:gd name="connsiteX15" fmla="*/ 1158279 w 1170433"/>
              <a:gd name="connsiteY15" fmla="*/ 332259 h 1603180"/>
              <a:gd name="connsiteX16" fmla="*/ 1168447 w 1170433"/>
              <a:gd name="connsiteY16" fmla="*/ 360266 h 1603180"/>
              <a:gd name="connsiteX17" fmla="*/ 982158 w 1170433"/>
              <a:gd name="connsiteY17" fmla="*/ 758912 h 1603180"/>
              <a:gd name="connsiteX18" fmla="*/ 970260 w 1170433"/>
              <a:gd name="connsiteY18" fmla="*/ 769797 h 1603180"/>
              <a:gd name="connsiteX19" fmla="*/ 968041 w 1170433"/>
              <a:gd name="connsiteY19" fmla="*/ 769698 h 1603180"/>
              <a:gd name="connsiteX20" fmla="*/ 971223 w 1170433"/>
              <a:gd name="connsiteY20" fmla="*/ 796464 h 1603180"/>
              <a:gd name="connsiteX21" fmla="*/ 973763 w 1170433"/>
              <a:gd name="connsiteY21" fmla="*/ 1042786 h 1603180"/>
              <a:gd name="connsiteX22" fmla="*/ 886144 w 1170433"/>
              <a:gd name="connsiteY22" fmla="*/ 1249785 h 1603180"/>
              <a:gd name="connsiteX23" fmla="*/ 805616 w 1170433"/>
              <a:gd name="connsiteY23" fmla="*/ 1338685 h 1603180"/>
              <a:gd name="connsiteX24" fmla="*/ 805616 w 1170433"/>
              <a:gd name="connsiteY24" fmla="*/ 1534410 h 1603180"/>
              <a:gd name="connsiteX25" fmla="*/ 740656 w 1170433"/>
              <a:gd name="connsiteY25" fmla="*/ 1599370 h 1603180"/>
              <a:gd name="connsiteX26" fmla="*/ 410339 w 1170433"/>
              <a:gd name="connsiteY26" fmla="*/ 1603180 h 1603180"/>
              <a:gd name="connsiteX27" fmla="*/ 352999 w 1170433"/>
              <a:gd name="connsiteY27" fmla="*/ 1543935 h 1603180"/>
              <a:gd name="connsiteX28" fmla="*/ 335564 w 1170433"/>
              <a:gd name="connsiteY28" fmla="*/ 1342670 h 1603180"/>
              <a:gd name="connsiteX29" fmla="*/ 319674 w 1170433"/>
              <a:gd name="connsiteY29" fmla="*/ 1347018 h 1603180"/>
              <a:gd name="connsiteX30" fmla="*/ 249089 w 1170433"/>
              <a:gd name="connsiteY30" fmla="*/ 1343844 h 1603180"/>
              <a:gd name="connsiteX31" fmla="*/ 135563 w 1170433"/>
              <a:gd name="connsiteY31" fmla="*/ 1220019 h 1603180"/>
              <a:gd name="connsiteX32" fmla="*/ 635 w 1170433"/>
              <a:gd name="connsiteY32" fmla="*/ 1064098 h 1603180"/>
              <a:gd name="connsiteX33" fmla="*/ 0 w 1170433"/>
              <a:gd name="connsiteY33" fmla="*/ 720541 h 1603180"/>
              <a:gd name="connsiteX34" fmla="*/ 30788 w 1170433"/>
              <a:gd name="connsiteY34" fmla="*/ 685270 h 1603180"/>
              <a:gd name="connsiteX35" fmla="*/ 153939 w 1170433"/>
              <a:gd name="connsiteY35" fmla="*/ 685270 h 1603180"/>
              <a:gd name="connsiteX36" fmla="*/ 184727 w 1170433"/>
              <a:gd name="connsiteY36" fmla="*/ 720541 h 1603180"/>
              <a:gd name="connsiteX37" fmla="*/ 184727 w 1170433"/>
              <a:gd name="connsiteY37" fmla="*/ 1023012 h 1603180"/>
              <a:gd name="connsiteX38" fmla="*/ 219903 w 1170433"/>
              <a:gd name="connsiteY38" fmla="*/ 1023012 h 1603180"/>
              <a:gd name="connsiteX39" fmla="*/ 224736 w 1170433"/>
              <a:gd name="connsiteY39" fmla="*/ 679931 h 1603180"/>
              <a:gd name="connsiteX40" fmla="*/ 217600 w 1170433"/>
              <a:gd name="connsiteY40" fmla="*/ 670642 h 1603180"/>
              <a:gd name="connsiteX41" fmla="*/ 83412 w 1170433"/>
              <a:gd name="connsiteY41" fmla="*/ 171008 h 1603180"/>
              <a:gd name="connsiteX42" fmla="*/ 102948 w 1170433"/>
              <a:gd name="connsiteY42" fmla="*/ 137124 h 1603180"/>
              <a:gd name="connsiteX43" fmla="*/ 209786 w 1170433"/>
              <a:gd name="connsiteY43" fmla="*/ 108431 h 1603180"/>
              <a:gd name="connsiteX44" fmla="*/ 243670 w 1170433"/>
              <a:gd name="connsiteY44" fmla="*/ 127967 h 1603180"/>
              <a:gd name="connsiteX45" fmla="*/ 377859 w 1170433"/>
              <a:gd name="connsiteY45" fmla="*/ 627601 h 1603180"/>
              <a:gd name="connsiteX46" fmla="*/ 377609 w 1170433"/>
              <a:gd name="connsiteY46" fmla="*/ 629502 h 1603180"/>
              <a:gd name="connsiteX47" fmla="*/ 434239 w 1170433"/>
              <a:gd name="connsiteY47" fmla="*/ 628696 h 1603180"/>
              <a:gd name="connsiteX48" fmla="*/ 434239 w 1170433"/>
              <a:gd name="connsiteY48" fmla="*/ 26832 h 1603180"/>
              <a:gd name="connsiteX49" fmla="*/ 461071 w 1170433"/>
              <a:gd name="connsiteY49"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70433" h="1603180">
                <a:moveTo>
                  <a:pt x="461071" y="0"/>
                </a:moveTo>
                <a:lnTo>
                  <a:pt x="568395" y="0"/>
                </a:lnTo>
                <a:cubicBezTo>
                  <a:pt x="583214" y="0"/>
                  <a:pt x="595227" y="12013"/>
                  <a:pt x="595227" y="26832"/>
                </a:cubicBezTo>
                <a:lnTo>
                  <a:pt x="595227" y="626406"/>
                </a:lnTo>
                <a:lnTo>
                  <a:pt x="673622" y="625291"/>
                </a:lnTo>
                <a:lnTo>
                  <a:pt x="764060" y="62898"/>
                </a:lnTo>
                <a:cubicBezTo>
                  <a:pt x="766579" y="47231"/>
                  <a:pt x="781321" y="36573"/>
                  <a:pt x="796988" y="39093"/>
                </a:cubicBezTo>
                <a:lnTo>
                  <a:pt x="910448" y="57338"/>
                </a:lnTo>
                <a:cubicBezTo>
                  <a:pt x="926115" y="59857"/>
                  <a:pt x="936773" y="74599"/>
                  <a:pt x="934253" y="90266"/>
                </a:cubicBezTo>
                <a:lnTo>
                  <a:pt x="848617" y="622802"/>
                </a:lnTo>
                <a:lnTo>
                  <a:pt x="870904" y="622485"/>
                </a:lnTo>
                <a:lnTo>
                  <a:pt x="900593" y="634866"/>
                </a:lnTo>
                <a:lnTo>
                  <a:pt x="1053923" y="306749"/>
                </a:lnTo>
                <a:cubicBezTo>
                  <a:pt x="1056386" y="301478"/>
                  <a:pt x="1060753" y="297704"/>
                  <a:pt x="1065821" y="295864"/>
                </a:cubicBezTo>
                <a:cubicBezTo>
                  <a:pt x="1070889" y="294024"/>
                  <a:pt x="1076660" y="294118"/>
                  <a:pt x="1081931" y="296581"/>
                </a:cubicBezTo>
                <a:lnTo>
                  <a:pt x="1158279" y="332259"/>
                </a:lnTo>
                <a:cubicBezTo>
                  <a:pt x="1168820" y="337185"/>
                  <a:pt x="1173373" y="349724"/>
                  <a:pt x="1168447" y="360266"/>
                </a:cubicBezTo>
                <a:lnTo>
                  <a:pt x="982158" y="758912"/>
                </a:lnTo>
                <a:cubicBezTo>
                  <a:pt x="979695" y="764183"/>
                  <a:pt x="975328" y="767957"/>
                  <a:pt x="970260" y="769797"/>
                </a:cubicBezTo>
                <a:lnTo>
                  <a:pt x="968041" y="769698"/>
                </a:lnTo>
                <a:lnTo>
                  <a:pt x="971223" y="796464"/>
                </a:ln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36" y="679931"/>
                </a:lnTo>
                <a:lnTo>
                  <a:pt x="217600" y="670642"/>
                </a:lnTo>
                <a:lnTo>
                  <a:pt x="83412" y="171008"/>
                </a:lnTo>
                <a:cubicBezTo>
                  <a:pt x="79449" y="156256"/>
                  <a:pt x="88196" y="141086"/>
                  <a:pt x="102948" y="137124"/>
                </a:cubicBezTo>
                <a:lnTo>
                  <a:pt x="209786" y="108431"/>
                </a:lnTo>
                <a:cubicBezTo>
                  <a:pt x="224538" y="104468"/>
                  <a:pt x="239708" y="113215"/>
                  <a:pt x="243670" y="127967"/>
                </a:cubicBezTo>
                <a:lnTo>
                  <a:pt x="377859" y="627601"/>
                </a:lnTo>
                <a:lnTo>
                  <a:pt x="377609" y="629502"/>
                </a:lnTo>
                <a:lnTo>
                  <a:pt x="434239" y="628696"/>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88" name="Frihandsfigur: Form 87"/>
          <p:cNvSpPr/>
          <p:nvPr/>
        </p:nvSpPr>
        <p:spPr>
          <a:xfrm>
            <a:off x="4688530" y="3621882"/>
            <a:ext cx="398614" cy="656268"/>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nvGrpSpPr>
          <p:cNvPr id="98" name="Grupp 97"/>
          <p:cNvGrpSpPr/>
          <p:nvPr/>
        </p:nvGrpSpPr>
        <p:grpSpPr>
          <a:xfrm>
            <a:off x="6771978" y="2713362"/>
            <a:ext cx="823714" cy="894591"/>
            <a:chOff x="6450965" y="1172984"/>
            <a:chExt cx="1533717" cy="1665688"/>
          </a:xfrm>
        </p:grpSpPr>
        <p:grpSp>
          <p:nvGrpSpPr>
            <p:cNvPr id="89" name="Grupp 88"/>
            <p:cNvGrpSpPr/>
            <p:nvPr/>
          </p:nvGrpSpPr>
          <p:grpSpPr>
            <a:xfrm>
              <a:off x="6870644" y="1179436"/>
              <a:ext cx="347180" cy="1527265"/>
              <a:chOff x="6870644" y="1179436"/>
              <a:chExt cx="347180" cy="1527265"/>
            </a:xfrm>
          </p:grpSpPr>
          <p:sp>
            <p:nvSpPr>
              <p:cNvPr id="90" name="Rektangel: rundade hörn 89"/>
              <p:cNvSpPr/>
              <p:nvPr/>
            </p:nvSpPr>
            <p:spPr>
              <a:xfrm>
                <a:off x="7021321" y="1179436"/>
                <a:ext cx="126519"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91" name="Frihandsfigur: Form 90"/>
              <p:cNvSpPr/>
              <p:nvPr/>
            </p:nvSpPr>
            <p:spPr>
              <a:xfrm>
                <a:off x="6979442" y="1720926"/>
                <a:ext cx="238382" cy="98577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6643"/>
                  <a:gd name="connsiteY0" fmla="*/ 12700 h 985775"/>
                  <a:gd name="connsiteX1" fmla="*/ 479238 w 756643"/>
                  <a:gd name="connsiteY1" fmla="*/ 0 h 985775"/>
                  <a:gd name="connsiteX2" fmla="*/ 754103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756643"/>
                  <a:gd name="connsiteY0" fmla="*/ 12700 h 985775"/>
                  <a:gd name="connsiteX1" fmla="*/ 479238 w 756643"/>
                  <a:gd name="connsiteY1" fmla="*/ 0 h 985775"/>
                  <a:gd name="connsiteX2" fmla="*/ 613124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687057"/>
                  <a:gd name="connsiteY0" fmla="*/ 12700 h 985775"/>
                  <a:gd name="connsiteX1" fmla="*/ 479238 w 687057"/>
                  <a:gd name="connsiteY1" fmla="*/ 0 h 985775"/>
                  <a:gd name="connsiteX2" fmla="*/ 613124 w 687057"/>
                  <a:gd name="connsiteY2" fmla="*/ 179059 h 985775"/>
                  <a:gd name="connsiteX3" fmla="*/ 649230 w 687057"/>
                  <a:gd name="connsiteY3" fmla="*/ 427921 h 985775"/>
                  <a:gd name="connsiteX4" fmla="*/ 669024 w 687057"/>
                  <a:gd name="connsiteY4" fmla="*/ 632380 h 985775"/>
                  <a:gd name="connsiteX5" fmla="*/ 588496 w 687057"/>
                  <a:gd name="connsiteY5" fmla="*/ 721280 h 985775"/>
                  <a:gd name="connsiteX6" fmla="*/ 588496 w 687057"/>
                  <a:gd name="connsiteY6" fmla="*/ 917005 h 985775"/>
                  <a:gd name="connsiteX7" fmla="*/ 523536 w 687057"/>
                  <a:gd name="connsiteY7" fmla="*/ 981965 h 985775"/>
                  <a:gd name="connsiteX8" fmla="*/ 193219 w 687057"/>
                  <a:gd name="connsiteY8" fmla="*/ 985775 h 985775"/>
                  <a:gd name="connsiteX9" fmla="*/ 135879 w 687057"/>
                  <a:gd name="connsiteY9" fmla="*/ 926530 h 985775"/>
                  <a:gd name="connsiteX10" fmla="*/ 118099 w 687057"/>
                  <a:gd name="connsiteY10" fmla="*/ 721280 h 985775"/>
                  <a:gd name="connsiteX11" fmla="*/ 0 w 687057"/>
                  <a:gd name="connsiteY11" fmla="*/ 603181 h 985775"/>
                  <a:gd name="connsiteX12" fmla="*/ 7620 w 687057"/>
                  <a:gd name="connsiteY12" fmla="*/ 62219 h 985775"/>
                  <a:gd name="connsiteX13" fmla="*/ 118099 w 687057"/>
                  <a:gd name="connsiteY13" fmla="*/ 12700 h 985775"/>
                  <a:gd name="connsiteX0" fmla="*/ 118099 w 684147"/>
                  <a:gd name="connsiteY0" fmla="*/ 12700 h 985775"/>
                  <a:gd name="connsiteX1" fmla="*/ 479238 w 684147"/>
                  <a:gd name="connsiteY1" fmla="*/ 0 h 985775"/>
                  <a:gd name="connsiteX2" fmla="*/ 613124 w 684147"/>
                  <a:gd name="connsiteY2" fmla="*/ 179059 h 985775"/>
                  <a:gd name="connsiteX3" fmla="*/ 629090 w 684147"/>
                  <a:gd name="connsiteY3" fmla="*/ 425381 h 985775"/>
                  <a:gd name="connsiteX4" fmla="*/ 669024 w 684147"/>
                  <a:gd name="connsiteY4" fmla="*/ 632380 h 985775"/>
                  <a:gd name="connsiteX5" fmla="*/ 588496 w 684147"/>
                  <a:gd name="connsiteY5" fmla="*/ 721280 h 985775"/>
                  <a:gd name="connsiteX6" fmla="*/ 588496 w 684147"/>
                  <a:gd name="connsiteY6" fmla="*/ 917005 h 985775"/>
                  <a:gd name="connsiteX7" fmla="*/ 523536 w 684147"/>
                  <a:gd name="connsiteY7" fmla="*/ 981965 h 985775"/>
                  <a:gd name="connsiteX8" fmla="*/ 193219 w 684147"/>
                  <a:gd name="connsiteY8" fmla="*/ 985775 h 985775"/>
                  <a:gd name="connsiteX9" fmla="*/ 135879 w 684147"/>
                  <a:gd name="connsiteY9" fmla="*/ 926530 h 985775"/>
                  <a:gd name="connsiteX10" fmla="*/ 118099 w 684147"/>
                  <a:gd name="connsiteY10" fmla="*/ 721280 h 985775"/>
                  <a:gd name="connsiteX11" fmla="*/ 0 w 684147"/>
                  <a:gd name="connsiteY11" fmla="*/ 603181 h 985775"/>
                  <a:gd name="connsiteX12" fmla="*/ 7620 w 684147"/>
                  <a:gd name="connsiteY12" fmla="*/ 62219 h 985775"/>
                  <a:gd name="connsiteX13" fmla="*/ 118099 w 684147"/>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136146 w 684414"/>
                  <a:gd name="connsiteY9" fmla="*/ 92653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69012 w 684414"/>
                  <a:gd name="connsiteY9" fmla="*/ 92907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30052"/>
                  <a:gd name="connsiteY0" fmla="*/ 12700 h 985775"/>
                  <a:gd name="connsiteX1" fmla="*/ 479505 w 630052"/>
                  <a:gd name="connsiteY1" fmla="*/ 0 h 985775"/>
                  <a:gd name="connsiteX2" fmla="*/ 613391 w 630052"/>
                  <a:gd name="connsiteY2" fmla="*/ 179059 h 985775"/>
                  <a:gd name="connsiteX3" fmla="*/ 629357 w 630052"/>
                  <a:gd name="connsiteY3" fmla="*/ 425381 h 985775"/>
                  <a:gd name="connsiteX4" fmla="*/ 588731 w 630052"/>
                  <a:gd name="connsiteY4" fmla="*/ 622220 h 985775"/>
                  <a:gd name="connsiteX5" fmla="*/ 588763 w 630052"/>
                  <a:gd name="connsiteY5" fmla="*/ 721280 h 985775"/>
                  <a:gd name="connsiteX6" fmla="*/ 588763 w 630052"/>
                  <a:gd name="connsiteY6" fmla="*/ 917005 h 985775"/>
                  <a:gd name="connsiteX7" fmla="*/ 523803 w 630052"/>
                  <a:gd name="connsiteY7" fmla="*/ 981965 h 985775"/>
                  <a:gd name="connsiteX8" fmla="*/ 193486 w 630052"/>
                  <a:gd name="connsiteY8" fmla="*/ 985775 h 985775"/>
                  <a:gd name="connsiteX9" fmla="*/ 69012 w 630052"/>
                  <a:gd name="connsiteY9" fmla="*/ 929070 h 985775"/>
                  <a:gd name="connsiteX10" fmla="*/ 57946 w 630052"/>
                  <a:gd name="connsiteY10" fmla="*/ 718740 h 985775"/>
                  <a:gd name="connsiteX11" fmla="*/ 267 w 630052"/>
                  <a:gd name="connsiteY11" fmla="*/ 603181 h 985775"/>
                  <a:gd name="connsiteX12" fmla="*/ 7887 w 630052"/>
                  <a:gd name="connsiteY12" fmla="*/ 62219 h 985775"/>
                  <a:gd name="connsiteX13" fmla="*/ 118366 w 630052"/>
                  <a:gd name="connsiteY13" fmla="*/ 12700 h 9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052" h="985775">
                    <a:moveTo>
                      <a:pt x="118366" y="12700"/>
                    </a:moveTo>
                    <a:lnTo>
                      <a:pt x="479505" y="0"/>
                    </a:lnTo>
                    <a:cubicBezTo>
                      <a:pt x="544729" y="0"/>
                      <a:pt x="613391" y="113835"/>
                      <a:pt x="613391" y="179059"/>
                    </a:cubicBezTo>
                    <a:cubicBezTo>
                      <a:pt x="614238" y="274713"/>
                      <a:pt x="628510" y="329727"/>
                      <a:pt x="629357" y="425381"/>
                    </a:cubicBezTo>
                    <a:cubicBezTo>
                      <a:pt x="629357" y="490605"/>
                      <a:pt x="638715" y="551100"/>
                      <a:pt x="588731" y="622220"/>
                    </a:cubicBezTo>
                    <a:cubicBezTo>
                      <a:pt x="588742" y="655240"/>
                      <a:pt x="588752" y="688260"/>
                      <a:pt x="588763" y="721280"/>
                    </a:cubicBezTo>
                    <a:lnTo>
                      <a:pt x="588763" y="917005"/>
                    </a:lnTo>
                    <a:cubicBezTo>
                      <a:pt x="588763" y="952881"/>
                      <a:pt x="559679" y="981965"/>
                      <a:pt x="523803" y="981965"/>
                    </a:cubicBezTo>
                    <a:lnTo>
                      <a:pt x="193486" y="985775"/>
                    </a:lnTo>
                    <a:cubicBezTo>
                      <a:pt x="157610" y="985775"/>
                      <a:pt x="69012" y="964946"/>
                      <a:pt x="69012" y="929070"/>
                    </a:cubicBezTo>
                    <a:lnTo>
                      <a:pt x="57946" y="718740"/>
                    </a:lnTo>
                    <a:cubicBezTo>
                      <a:pt x="-7278" y="718740"/>
                      <a:pt x="267" y="668405"/>
                      <a:pt x="267" y="603181"/>
                    </a:cubicBezTo>
                    <a:cubicBezTo>
                      <a:pt x="1960" y="422014"/>
                      <a:pt x="6194" y="243386"/>
                      <a:pt x="7887" y="62219"/>
                    </a:cubicBezTo>
                    <a:cubicBezTo>
                      <a:pt x="7887" y="-3005"/>
                      <a:pt x="53142" y="12700"/>
                      <a:pt x="118366" y="1270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92" name="Frihandsfigur: Form 91"/>
              <p:cNvSpPr/>
              <p:nvPr/>
            </p:nvSpPr>
            <p:spPr>
              <a:xfrm flipH="1">
                <a:off x="6870644" y="1736240"/>
                <a:ext cx="301354"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grpSp>
          <p:nvGrpSpPr>
            <p:cNvPr id="93" name="Grupp 92"/>
            <p:cNvGrpSpPr/>
            <p:nvPr/>
          </p:nvGrpSpPr>
          <p:grpSpPr>
            <a:xfrm rot="2435034">
              <a:off x="7476353" y="1311407"/>
              <a:ext cx="347180" cy="1527265"/>
              <a:chOff x="7236637" y="1177723"/>
              <a:chExt cx="347180" cy="1527265"/>
            </a:xfrm>
          </p:grpSpPr>
          <p:sp>
            <p:nvSpPr>
              <p:cNvPr id="94" name="Rektangel: rundade hörn 93"/>
              <p:cNvSpPr/>
              <p:nvPr/>
            </p:nvSpPr>
            <p:spPr>
              <a:xfrm>
                <a:off x="7387314" y="1177723"/>
                <a:ext cx="126519"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95" name="Frihandsfigur: Form 94"/>
              <p:cNvSpPr/>
              <p:nvPr/>
            </p:nvSpPr>
            <p:spPr>
              <a:xfrm>
                <a:off x="7345435" y="1719213"/>
                <a:ext cx="238382" cy="98577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6643"/>
                  <a:gd name="connsiteY0" fmla="*/ 12700 h 985775"/>
                  <a:gd name="connsiteX1" fmla="*/ 479238 w 756643"/>
                  <a:gd name="connsiteY1" fmla="*/ 0 h 985775"/>
                  <a:gd name="connsiteX2" fmla="*/ 754103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756643"/>
                  <a:gd name="connsiteY0" fmla="*/ 12700 h 985775"/>
                  <a:gd name="connsiteX1" fmla="*/ 479238 w 756643"/>
                  <a:gd name="connsiteY1" fmla="*/ 0 h 985775"/>
                  <a:gd name="connsiteX2" fmla="*/ 613124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687057"/>
                  <a:gd name="connsiteY0" fmla="*/ 12700 h 985775"/>
                  <a:gd name="connsiteX1" fmla="*/ 479238 w 687057"/>
                  <a:gd name="connsiteY1" fmla="*/ 0 h 985775"/>
                  <a:gd name="connsiteX2" fmla="*/ 613124 w 687057"/>
                  <a:gd name="connsiteY2" fmla="*/ 179059 h 985775"/>
                  <a:gd name="connsiteX3" fmla="*/ 649230 w 687057"/>
                  <a:gd name="connsiteY3" fmla="*/ 427921 h 985775"/>
                  <a:gd name="connsiteX4" fmla="*/ 669024 w 687057"/>
                  <a:gd name="connsiteY4" fmla="*/ 632380 h 985775"/>
                  <a:gd name="connsiteX5" fmla="*/ 588496 w 687057"/>
                  <a:gd name="connsiteY5" fmla="*/ 721280 h 985775"/>
                  <a:gd name="connsiteX6" fmla="*/ 588496 w 687057"/>
                  <a:gd name="connsiteY6" fmla="*/ 917005 h 985775"/>
                  <a:gd name="connsiteX7" fmla="*/ 523536 w 687057"/>
                  <a:gd name="connsiteY7" fmla="*/ 981965 h 985775"/>
                  <a:gd name="connsiteX8" fmla="*/ 193219 w 687057"/>
                  <a:gd name="connsiteY8" fmla="*/ 985775 h 985775"/>
                  <a:gd name="connsiteX9" fmla="*/ 135879 w 687057"/>
                  <a:gd name="connsiteY9" fmla="*/ 926530 h 985775"/>
                  <a:gd name="connsiteX10" fmla="*/ 118099 w 687057"/>
                  <a:gd name="connsiteY10" fmla="*/ 721280 h 985775"/>
                  <a:gd name="connsiteX11" fmla="*/ 0 w 687057"/>
                  <a:gd name="connsiteY11" fmla="*/ 603181 h 985775"/>
                  <a:gd name="connsiteX12" fmla="*/ 7620 w 687057"/>
                  <a:gd name="connsiteY12" fmla="*/ 62219 h 985775"/>
                  <a:gd name="connsiteX13" fmla="*/ 118099 w 687057"/>
                  <a:gd name="connsiteY13" fmla="*/ 12700 h 985775"/>
                  <a:gd name="connsiteX0" fmla="*/ 118099 w 684147"/>
                  <a:gd name="connsiteY0" fmla="*/ 12700 h 985775"/>
                  <a:gd name="connsiteX1" fmla="*/ 479238 w 684147"/>
                  <a:gd name="connsiteY1" fmla="*/ 0 h 985775"/>
                  <a:gd name="connsiteX2" fmla="*/ 613124 w 684147"/>
                  <a:gd name="connsiteY2" fmla="*/ 179059 h 985775"/>
                  <a:gd name="connsiteX3" fmla="*/ 629090 w 684147"/>
                  <a:gd name="connsiteY3" fmla="*/ 425381 h 985775"/>
                  <a:gd name="connsiteX4" fmla="*/ 669024 w 684147"/>
                  <a:gd name="connsiteY4" fmla="*/ 632380 h 985775"/>
                  <a:gd name="connsiteX5" fmla="*/ 588496 w 684147"/>
                  <a:gd name="connsiteY5" fmla="*/ 721280 h 985775"/>
                  <a:gd name="connsiteX6" fmla="*/ 588496 w 684147"/>
                  <a:gd name="connsiteY6" fmla="*/ 917005 h 985775"/>
                  <a:gd name="connsiteX7" fmla="*/ 523536 w 684147"/>
                  <a:gd name="connsiteY7" fmla="*/ 981965 h 985775"/>
                  <a:gd name="connsiteX8" fmla="*/ 193219 w 684147"/>
                  <a:gd name="connsiteY8" fmla="*/ 985775 h 985775"/>
                  <a:gd name="connsiteX9" fmla="*/ 135879 w 684147"/>
                  <a:gd name="connsiteY9" fmla="*/ 926530 h 985775"/>
                  <a:gd name="connsiteX10" fmla="*/ 118099 w 684147"/>
                  <a:gd name="connsiteY10" fmla="*/ 721280 h 985775"/>
                  <a:gd name="connsiteX11" fmla="*/ 0 w 684147"/>
                  <a:gd name="connsiteY11" fmla="*/ 603181 h 985775"/>
                  <a:gd name="connsiteX12" fmla="*/ 7620 w 684147"/>
                  <a:gd name="connsiteY12" fmla="*/ 62219 h 985775"/>
                  <a:gd name="connsiteX13" fmla="*/ 118099 w 684147"/>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136146 w 684414"/>
                  <a:gd name="connsiteY9" fmla="*/ 92653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69012 w 684414"/>
                  <a:gd name="connsiteY9" fmla="*/ 92907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30052"/>
                  <a:gd name="connsiteY0" fmla="*/ 12700 h 985775"/>
                  <a:gd name="connsiteX1" fmla="*/ 479505 w 630052"/>
                  <a:gd name="connsiteY1" fmla="*/ 0 h 985775"/>
                  <a:gd name="connsiteX2" fmla="*/ 613391 w 630052"/>
                  <a:gd name="connsiteY2" fmla="*/ 179059 h 985775"/>
                  <a:gd name="connsiteX3" fmla="*/ 629357 w 630052"/>
                  <a:gd name="connsiteY3" fmla="*/ 425381 h 985775"/>
                  <a:gd name="connsiteX4" fmla="*/ 588731 w 630052"/>
                  <a:gd name="connsiteY4" fmla="*/ 622220 h 985775"/>
                  <a:gd name="connsiteX5" fmla="*/ 588763 w 630052"/>
                  <a:gd name="connsiteY5" fmla="*/ 721280 h 985775"/>
                  <a:gd name="connsiteX6" fmla="*/ 588763 w 630052"/>
                  <a:gd name="connsiteY6" fmla="*/ 917005 h 985775"/>
                  <a:gd name="connsiteX7" fmla="*/ 523803 w 630052"/>
                  <a:gd name="connsiteY7" fmla="*/ 981965 h 985775"/>
                  <a:gd name="connsiteX8" fmla="*/ 193486 w 630052"/>
                  <a:gd name="connsiteY8" fmla="*/ 985775 h 985775"/>
                  <a:gd name="connsiteX9" fmla="*/ 69012 w 630052"/>
                  <a:gd name="connsiteY9" fmla="*/ 929070 h 985775"/>
                  <a:gd name="connsiteX10" fmla="*/ 57946 w 630052"/>
                  <a:gd name="connsiteY10" fmla="*/ 718740 h 985775"/>
                  <a:gd name="connsiteX11" fmla="*/ 267 w 630052"/>
                  <a:gd name="connsiteY11" fmla="*/ 603181 h 985775"/>
                  <a:gd name="connsiteX12" fmla="*/ 7887 w 630052"/>
                  <a:gd name="connsiteY12" fmla="*/ 62219 h 985775"/>
                  <a:gd name="connsiteX13" fmla="*/ 118366 w 630052"/>
                  <a:gd name="connsiteY13" fmla="*/ 12700 h 9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052" h="985775">
                    <a:moveTo>
                      <a:pt x="118366" y="12700"/>
                    </a:moveTo>
                    <a:lnTo>
                      <a:pt x="479505" y="0"/>
                    </a:lnTo>
                    <a:cubicBezTo>
                      <a:pt x="544729" y="0"/>
                      <a:pt x="613391" y="113835"/>
                      <a:pt x="613391" y="179059"/>
                    </a:cubicBezTo>
                    <a:cubicBezTo>
                      <a:pt x="614238" y="274713"/>
                      <a:pt x="628510" y="329727"/>
                      <a:pt x="629357" y="425381"/>
                    </a:cubicBezTo>
                    <a:cubicBezTo>
                      <a:pt x="629357" y="490605"/>
                      <a:pt x="638715" y="551100"/>
                      <a:pt x="588731" y="622220"/>
                    </a:cubicBezTo>
                    <a:cubicBezTo>
                      <a:pt x="588742" y="655240"/>
                      <a:pt x="588752" y="688260"/>
                      <a:pt x="588763" y="721280"/>
                    </a:cubicBezTo>
                    <a:lnTo>
                      <a:pt x="588763" y="917005"/>
                    </a:lnTo>
                    <a:cubicBezTo>
                      <a:pt x="588763" y="952881"/>
                      <a:pt x="559679" y="981965"/>
                      <a:pt x="523803" y="981965"/>
                    </a:cubicBezTo>
                    <a:lnTo>
                      <a:pt x="193486" y="985775"/>
                    </a:lnTo>
                    <a:cubicBezTo>
                      <a:pt x="157610" y="985775"/>
                      <a:pt x="69012" y="964946"/>
                      <a:pt x="69012" y="929070"/>
                    </a:cubicBezTo>
                    <a:lnTo>
                      <a:pt x="57946" y="718740"/>
                    </a:lnTo>
                    <a:cubicBezTo>
                      <a:pt x="-7278" y="718740"/>
                      <a:pt x="267" y="668405"/>
                      <a:pt x="267" y="603181"/>
                    </a:cubicBezTo>
                    <a:cubicBezTo>
                      <a:pt x="1960" y="422014"/>
                      <a:pt x="6194" y="243386"/>
                      <a:pt x="7887" y="62219"/>
                    </a:cubicBezTo>
                    <a:cubicBezTo>
                      <a:pt x="7887" y="-3005"/>
                      <a:pt x="53142" y="12700"/>
                      <a:pt x="118366" y="1270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96" name="Frihandsfigur: Form 95"/>
              <p:cNvSpPr/>
              <p:nvPr/>
            </p:nvSpPr>
            <p:spPr>
              <a:xfrm flipH="1">
                <a:off x="7236637" y="1734527"/>
                <a:ext cx="301354"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sp>
          <p:nvSpPr>
            <p:cNvPr id="97" name="Båge 96"/>
            <p:cNvSpPr/>
            <p:nvPr/>
          </p:nvSpPr>
          <p:spPr>
            <a:xfrm>
              <a:off x="6450965" y="1172984"/>
              <a:ext cx="1533717" cy="1533717"/>
            </a:xfrm>
            <a:prstGeom prst="arc">
              <a:avLst>
                <a:gd name="adj1" fmla="val 16200000"/>
                <a:gd name="adj2" fmla="val 20279930"/>
              </a:avLst>
            </a:prstGeom>
            <a:ln w="38100">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nvGrpSpPr>
          <p:cNvPr id="102" name="Grupp 101"/>
          <p:cNvGrpSpPr/>
          <p:nvPr/>
        </p:nvGrpSpPr>
        <p:grpSpPr>
          <a:xfrm>
            <a:off x="4954235" y="2080095"/>
            <a:ext cx="733203" cy="812673"/>
            <a:chOff x="5617767" y="1694170"/>
            <a:chExt cx="1156060" cy="1281363"/>
          </a:xfrm>
        </p:grpSpPr>
        <p:sp>
          <p:nvSpPr>
            <p:cNvPr id="99" name="Båge 98"/>
            <p:cNvSpPr/>
            <p:nvPr/>
          </p:nvSpPr>
          <p:spPr>
            <a:xfrm>
              <a:off x="5617767" y="1694170"/>
              <a:ext cx="1156060" cy="1156060"/>
            </a:xfrm>
            <a:prstGeom prst="arc">
              <a:avLst>
                <a:gd name="adj1" fmla="val 11886064"/>
                <a:gd name="adj2" fmla="val 14388348"/>
              </a:avLst>
            </a:prstGeom>
            <a:ln w="19050">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0" name="Rektangel 13"/>
            <p:cNvSpPr/>
            <p:nvPr/>
          </p:nvSpPr>
          <p:spPr>
            <a:xfrm>
              <a:off x="5915453" y="1726516"/>
              <a:ext cx="284211" cy="1040072"/>
            </a:xfrm>
            <a:custGeom>
              <a:avLst/>
              <a:gdLst>
                <a:gd name="connsiteX0" fmla="*/ 0 w 484947"/>
                <a:gd name="connsiteY0" fmla="*/ 0 h 786072"/>
                <a:gd name="connsiteX1" fmla="*/ 484947 w 484947"/>
                <a:gd name="connsiteY1" fmla="*/ 0 h 786072"/>
                <a:gd name="connsiteX2" fmla="*/ 484947 w 484947"/>
                <a:gd name="connsiteY2" fmla="*/ 786072 h 786072"/>
                <a:gd name="connsiteX3" fmla="*/ 0 w 484947"/>
                <a:gd name="connsiteY3" fmla="*/ 786072 h 786072"/>
                <a:gd name="connsiteX4" fmla="*/ 0 w 484947"/>
                <a:gd name="connsiteY4" fmla="*/ 0 h 786072"/>
                <a:gd name="connsiteX0" fmla="*/ 0 w 490027"/>
                <a:gd name="connsiteY0" fmla="*/ 0 h 786072"/>
                <a:gd name="connsiteX1" fmla="*/ 490027 w 490027"/>
                <a:gd name="connsiteY1" fmla="*/ 213360 h 786072"/>
                <a:gd name="connsiteX2" fmla="*/ 484947 w 490027"/>
                <a:gd name="connsiteY2" fmla="*/ 786072 h 786072"/>
                <a:gd name="connsiteX3" fmla="*/ 0 w 490027"/>
                <a:gd name="connsiteY3" fmla="*/ 786072 h 786072"/>
                <a:gd name="connsiteX4" fmla="*/ 0 w 490027"/>
                <a:gd name="connsiteY4" fmla="*/ 0 h 786072"/>
                <a:gd name="connsiteX0" fmla="*/ 0 w 495332"/>
                <a:gd name="connsiteY0" fmla="*/ 0 h 989272"/>
                <a:gd name="connsiteX1" fmla="*/ 490027 w 495332"/>
                <a:gd name="connsiteY1" fmla="*/ 213360 h 989272"/>
                <a:gd name="connsiteX2" fmla="*/ 495107 w 495332"/>
                <a:gd name="connsiteY2" fmla="*/ 989272 h 989272"/>
                <a:gd name="connsiteX3" fmla="*/ 0 w 495332"/>
                <a:gd name="connsiteY3" fmla="*/ 786072 h 989272"/>
                <a:gd name="connsiteX4" fmla="*/ 0 w 495332"/>
                <a:gd name="connsiteY4" fmla="*/ 0 h 989272"/>
                <a:gd name="connsiteX0" fmla="*/ 213360 w 495332"/>
                <a:gd name="connsiteY0" fmla="*/ 0 h 1040072"/>
                <a:gd name="connsiteX1" fmla="*/ 490027 w 495332"/>
                <a:gd name="connsiteY1" fmla="*/ 264160 h 1040072"/>
                <a:gd name="connsiteX2" fmla="*/ 495107 w 495332"/>
                <a:gd name="connsiteY2" fmla="*/ 1040072 h 1040072"/>
                <a:gd name="connsiteX3" fmla="*/ 0 w 495332"/>
                <a:gd name="connsiteY3" fmla="*/ 836872 h 1040072"/>
                <a:gd name="connsiteX4" fmla="*/ 213360 w 495332"/>
                <a:gd name="connsiteY4" fmla="*/ 0 h 1040072"/>
                <a:gd name="connsiteX0" fmla="*/ 40640 w 322612"/>
                <a:gd name="connsiteY0" fmla="*/ 0 h 1040072"/>
                <a:gd name="connsiteX1" fmla="*/ 317307 w 322612"/>
                <a:gd name="connsiteY1" fmla="*/ 264160 h 1040072"/>
                <a:gd name="connsiteX2" fmla="*/ 322387 w 322612"/>
                <a:gd name="connsiteY2" fmla="*/ 1040072 h 1040072"/>
                <a:gd name="connsiteX3" fmla="*/ 0 w 322612"/>
                <a:gd name="connsiteY3" fmla="*/ 847032 h 1040072"/>
                <a:gd name="connsiteX4" fmla="*/ 40640 w 322612"/>
                <a:gd name="connsiteY4" fmla="*/ 0 h 1040072"/>
                <a:gd name="connsiteX0" fmla="*/ 0 w 281972"/>
                <a:gd name="connsiteY0" fmla="*/ 0 h 1040072"/>
                <a:gd name="connsiteX1" fmla="*/ 276667 w 281972"/>
                <a:gd name="connsiteY1" fmla="*/ 264160 h 1040072"/>
                <a:gd name="connsiteX2" fmla="*/ 281747 w 281972"/>
                <a:gd name="connsiteY2" fmla="*/ 1040072 h 1040072"/>
                <a:gd name="connsiteX3" fmla="*/ 25400 w 281972"/>
                <a:gd name="connsiteY3" fmla="*/ 852112 h 1040072"/>
                <a:gd name="connsiteX4" fmla="*/ 0 w 281972"/>
                <a:gd name="connsiteY4" fmla="*/ 0 h 1040072"/>
                <a:gd name="connsiteX0" fmla="*/ 22559 w 304531"/>
                <a:gd name="connsiteY0" fmla="*/ 0 h 1040072"/>
                <a:gd name="connsiteX1" fmla="*/ 299226 w 304531"/>
                <a:gd name="connsiteY1" fmla="*/ 264160 h 1040072"/>
                <a:gd name="connsiteX2" fmla="*/ 304306 w 304531"/>
                <a:gd name="connsiteY2" fmla="*/ 1040072 h 1040072"/>
                <a:gd name="connsiteX3" fmla="*/ 47959 w 304531"/>
                <a:gd name="connsiteY3" fmla="*/ 852112 h 1040072"/>
                <a:gd name="connsiteX4" fmla="*/ 0 w 304531"/>
                <a:gd name="connsiteY4" fmla="*/ 826712 h 1040072"/>
                <a:gd name="connsiteX5" fmla="*/ 22559 w 304531"/>
                <a:gd name="connsiteY5" fmla="*/ 0 h 1040072"/>
                <a:gd name="connsiteX0" fmla="*/ 2239 w 284211"/>
                <a:gd name="connsiteY0" fmla="*/ 0 h 1040072"/>
                <a:gd name="connsiteX1" fmla="*/ 278906 w 284211"/>
                <a:gd name="connsiteY1" fmla="*/ 264160 h 1040072"/>
                <a:gd name="connsiteX2" fmla="*/ 283986 w 284211"/>
                <a:gd name="connsiteY2" fmla="*/ 1040072 h 1040072"/>
                <a:gd name="connsiteX3" fmla="*/ 27639 w 284211"/>
                <a:gd name="connsiteY3" fmla="*/ 852112 h 1040072"/>
                <a:gd name="connsiteX4" fmla="*/ 0 w 284211"/>
                <a:gd name="connsiteY4" fmla="*/ 836872 h 1040072"/>
                <a:gd name="connsiteX5" fmla="*/ 2239 w 284211"/>
                <a:gd name="connsiteY5" fmla="*/ 0 h 104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211" h="1040072">
                  <a:moveTo>
                    <a:pt x="2239" y="0"/>
                  </a:moveTo>
                  <a:lnTo>
                    <a:pt x="278906" y="264160"/>
                  </a:lnTo>
                  <a:cubicBezTo>
                    <a:pt x="277213" y="455064"/>
                    <a:pt x="285679" y="849168"/>
                    <a:pt x="283986" y="1040072"/>
                  </a:cubicBezTo>
                  <a:lnTo>
                    <a:pt x="27639" y="852112"/>
                  </a:lnTo>
                  <a:cubicBezTo>
                    <a:pt x="23506" y="838565"/>
                    <a:pt x="4133" y="850419"/>
                    <a:pt x="0" y="836872"/>
                  </a:cubicBezTo>
                  <a:cubicBezTo>
                    <a:pt x="746" y="557915"/>
                    <a:pt x="1493" y="278957"/>
                    <a:pt x="2239"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1" name="Rektangel 13"/>
            <p:cNvSpPr/>
            <p:nvPr/>
          </p:nvSpPr>
          <p:spPr>
            <a:xfrm>
              <a:off x="5644135" y="2042141"/>
              <a:ext cx="551663" cy="933392"/>
            </a:xfrm>
            <a:custGeom>
              <a:avLst/>
              <a:gdLst>
                <a:gd name="connsiteX0" fmla="*/ 0 w 484947"/>
                <a:gd name="connsiteY0" fmla="*/ 0 h 786072"/>
                <a:gd name="connsiteX1" fmla="*/ 484947 w 484947"/>
                <a:gd name="connsiteY1" fmla="*/ 0 h 786072"/>
                <a:gd name="connsiteX2" fmla="*/ 484947 w 484947"/>
                <a:gd name="connsiteY2" fmla="*/ 786072 h 786072"/>
                <a:gd name="connsiteX3" fmla="*/ 0 w 484947"/>
                <a:gd name="connsiteY3" fmla="*/ 786072 h 786072"/>
                <a:gd name="connsiteX4" fmla="*/ 0 w 484947"/>
                <a:gd name="connsiteY4" fmla="*/ 0 h 786072"/>
                <a:gd name="connsiteX0" fmla="*/ 0 w 490027"/>
                <a:gd name="connsiteY0" fmla="*/ 0 h 786072"/>
                <a:gd name="connsiteX1" fmla="*/ 490027 w 490027"/>
                <a:gd name="connsiteY1" fmla="*/ 213360 h 786072"/>
                <a:gd name="connsiteX2" fmla="*/ 484947 w 490027"/>
                <a:gd name="connsiteY2" fmla="*/ 786072 h 786072"/>
                <a:gd name="connsiteX3" fmla="*/ 0 w 490027"/>
                <a:gd name="connsiteY3" fmla="*/ 786072 h 786072"/>
                <a:gd name="connsiteX4" fmla="*/ 0 w 490027"/>
                <a:gd name="connsiteY4" fmla="*/ 0 h 786072"/>
                <a:gd name="connsiteX0" fmla="*/ 0 w 495332"/>
                <a:gd name="connsiteY0" fmla="*/ 0 h 989272"/>
                <a:gd name="connsiteX1" fmla="*/ 490027 w 495332"/>
                <a:gd name="connsiteY1" fmla="*/ 213360 h 989272"/>
                <a:gd name="connsiteX2" fmla="*/ 495107 w 495332"/>
                <a:gd name="connsiteY2" fmla="*/ 989272 h 989272"/>
                <a:gd name="connsiteX3" fmla="*/ 0 w 495332"/>
                <a:gd name="connsiteY3" fmla="*/ 786072 h 989272"/>
                <a:gd name="connsiteX4" fmla="*/ 0 w 495332"/>
                <a:gd name="connsiteY4" fmla="*/ 0 h 989272"/>
                <a:gd name="connsiteX0" fmla="*/ 0 w 495332"/>
                <a:gd name="connsiteY0" fmla="*/ 0 h 1151832"/>
                <a:gd name="connsiteX1" fmla="*/ 490027 w 495332"/>
                <a:gd name="connsiteY1" fmla="*/ 213360 h 1151832"/>
                <a:gd name="connsiteX2" fmla="*/ 495107 w 495332"/>
                <a:gd name="connsiteY2" fmla="*/ 989272 h 1151832"/>
                <a:gd name="connsiteX3" fmla="*/ 10160 w 495332"/>
                <a:gd name="connsiteY3" fmla="*/ 1151832 h 1151832"/>
                <a:gd name="connsiteX4" fmla="*/ 0 w 495332"/>
                <a:gd name="connsiteY4" fmla="*/ 0 h 1151832"/>
                <a:gd name="connsiteX0" fmla="*/ 5696 w 485788"/>
                <a:gd name="connsiteY0" fmla="*/ 45720 h 938472"/>
                <a:gd name="connsiteX1" fmla="*/ 480483 w 485788"/>
                <a:gd name="connsiteY1" fmla="*/ 0 h 938472"/>
                <a:gd name="connsiteX2" fmla="*/ 485563 w 485788"/>
                <a:gd name="connsiteY2" fmla="*/ 775912 h 938472"/>
                <a:gd name="connsiteX3" fmla="*/ 616 w 485788"/>
                <a:gd name="connsiteY3" fmla="*/ 938472 h 938472"/>
                <a:gd name="connsiteX4" fmla="*/ 5696 w 485788"/>
                <a:gd name="connsiteY4" fmla="*/ 45720 h 938472"/>
                <a:gd name="connsiteX0" fmla="*/ 0 w 541052"/>
                <a:gd name="connsiteY0" fmla="*/ 76200 h 938472"/>
                <a:gd name="connsiteX1" fmla="*/ 535747 w 541052"/>
                <a:gd name="connsiteY1" fmla="*/ 0 h 938472"/>
                <a:gd name="connsiteX2" fmla="*/ 540827 w 541052"/>
                <a:gd name="connsiteY2" fmla="*/ 775912 h 938472"/>
                <a:gd name="connsiteX3" fmla="*/ 55880 w 541052"/>
                <a:gd name="connsiteY3" fmla="*/ 938472 h 938472"/>
                <a:gd name="connsiteX4" fmla="*/ 0 w 541052"/>
                <a:gd name="connsiteY4" fmla="*/ 76200 h 938472"/>
                <a:gd name="connsiteX0" fmla="*/ 20613 w 561665"/>
                <a:gd name="connsiteY0" fmla="*/ 76200 h 918152"/>
                <a:gd name="connsiteX1" fmla="*/ 556360 w 561665"/>
                <a:gd name="connsiteY1" fmla="*/ 0 h 918152"/>
                <a:gd name="connsiteX2" fmla="*/ 561440 w 561665"/>
                <a:gd name="connsiteY2" fmla="*/ 775912 h 918152"/>
                <a:gd name="connsiteX3" fmla="*/ 293 w 561665"/>
                <a:gd name="connsiteY3" fmla="*/ 918152 h 918152"/>
                <a:gd name="connsiteX4" fmla="*/ 20613 w 561665"/>
                <a:gd name="connsiteY4" fmla="*/ 76200 h 918152"/>
                <a:gd name="connsiteX0" fmla="*/ 10611 w 551663"/>
                <a:gd name="connsiteY0" fmla="*/ 76200 h 933392"/>
                <a:gd name="connsiteX1" fmla="*/ 546358 w 551663"/>
                <a:gd name="connsiteY1" fmla="*/ 0 h 933392"/>
                <a:gd name="connsiteX2" fmla="*/ 551438 w 551663"/>
                <a:gd name="connsiteY2" fmla="*/ 775912 h 933392"/>
                <a:gd name="connsiteX3" fmla="*/ 451 w 551663"/>
                <a:gd name="connsiteY3" fmla="*/ 933392 h 933392"/>
                <a:gd name="connsiteX4" fmla="*/ 10611 w 551663"/>
                <a:gd name="connsiteY4" fmla="*/ 76200 h 933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663" h="933392">
                  <a:moveTo>
                    <a:pt x="10611" y="76200"/>
                  </a:moveTo>
                  <a:lnTo>
                    <a:pt x="546358" y="0"/>
                  </a:lnTo>
                  <a:cubicBezTo>
                    <a:pt x="544665" y="190904"/>
                    <a:pt x="553131" y="585008"/>
                    <a:pt x="551438" y="775912"/>
                  </a:cubicBezTo>
                  <a:lnTo>
                    <a:pt x="451" y="933392"/>
                  </a:lnTo>
                  <a:cubicBezTo>
                    <a:pt x="-2936" y="549448"/>
                    <a:pt x="13998" y="460144"/>
                    <a:pt x="10611" y="76200"/>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grpSp>
        <p:nvGrpSpPr>
          <p:cNvPr id="111" name="Grupp 110"/>
          <p:cNvGrpSpPr/>
          <p:nvPr/>
        </p:nvGrpSpPr>
        <p:grpSpPr>
          <a:xfrm>
            <a:off x="4383762" y="4593202"/>
            <a:ext cx="609536" cy="891767"/>
            <a:chOff x="8036568" y="1312610"/>
            <a:chExt cx="1073957" cy="1571227"/>
          </a:xfrm>
        </p:grpSpPr>
        <p:grpSp>
          <p:nvGrpSpPr>
            <p:cNvPr id="109" name="Grupp 108"/>
            <p:cNvGrpSpPr/>
            <p:nvPr/>
          </p:nvGrpSpPr>
          <p:grpSpPr>
            <a:xfrm>
              <a:off x="8036568" y="1356572"/>
              <a:ext cx="347180" cy="1527265"/>
              <a:chOff x="8036568" y="1356572"/>
              <a:chExt cx="347180" cy="1527265"/>
            </a:xfrm>
          </p:grpSpPr>
          <p:sp>
            <p:nvSpPr>
              <p:cNvPr id="103" name="Rektangel: rundade hörn 102"/>
              <p:cNvSpPr/>
              <p:nvPr/>
            </p:nvSpPr>
            <p:spPr>
              <a:xfrm>
                <a:off x="8187245" y="1356572"/>
                <a:ext cx="126519"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4" name="Frihandsfigur: Form 103"/>
              <p:cNvSpPr/>
              <p:nvPr/>
            </p:nvSpPr>
            <p:spPr>
              <a:xfrm>
                <a:off x="8145366" y="1898062"/>
                <a:ext cx="238382" cy="98577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6643"/>
                  <a:gd name="connsiteY0" fmla="*/ 12700 h 985775"/>
                  <a:gd name="connsiteX1" fmla="*/ 479238 w 756643"/>
                  <a:gd name="connsiteY1" fmla="*/ 0 h 985775"/>
                  <a:gd name="connsiteX2" fmla="*/ 754103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756643"/>
                  <a:gd name="connsiteY0" fmla="*/ 12700 h 985775"/>
                  <a:gd name="connsiteX1" fmla="*/ 479238 w 756643"/>
                  <a:gd name="connsiteY1" fmla="*/ 0 h 985775"/>
                  <a:gd name="connsiteX2" fmla="*/ 613124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687057"/>
                  <a:gd name="connsiteY0" fmla="*/ 12700 h 985775"/>
                  <a:gd name="connsiteX1" fmla="*/ 479238 w 687057"/>
                  <a:gd name="connsiteY1" fmla="*/ 0 h 985775"/>
                  <a:gd name="connsiteX2" fmla="*/ 613124 w 687057"/>
                  <a:gd name="connsiteY2" fmla="*/ 179059 h 985775"/>
                  <a:gd name="connsiteX3" fmla="*/ 649230 w 687057"/>
                  <a:gd name="connsiteY3" fmla="*/ 427921 h 985775"/>
                  <a:gd name="connsiteX4" fmla="*/ 669024 w 687057"/>
                  <a:gd name="connsiteY4" fmla="*/ 632380 h 985775"/>
                  <a:gd name="connsiteX5" fmla="*/ 588496 w 687057"/>
                  <a:gd name="connsiteY5" fmla="*/ 721280 h 985775"/>
                  <a:gd name="connsiteX6" fmla="*/ 588496 w 687057"/>
                  <a:gd name="connsiteY6" fmla="*/ 917005 h 985775"/>
                  <a:gd name="connsiteX7" fmla="*/ 523536 w 687057"/>
                  <a:gd name="connsiteY7" fmla="*/ 981965 h 985775"/>
                  <a:gd name="connsiteX8" fmla="*/ 193219 w 687057"/>
                  <a:gd name="connsiteY8" fmla="*/ 985775 h 985775"/>
                  <a:gd name="connsiteX9" fmla="*/ 135879 w 687057"/>
                  <a:gd name="connsiteY9" fmla="*/ 926530 h 985775"/>
                  <a:gd name="connsiteX10" fmla="*/ 118099 w 687057"/>
                  <a:gd name="connsiteY10" fmla="*/ 721280 h 985775"/>
                  <a:gd name="connsiteX11" fmla="*/ 0 w 687057"/>
                  <a:gd name="connsiteY11" fmla="*/ 603181 h 985775"/>
                  <a:gd name="connsiteX12" fmla="*/ 7620 w 687057"/>
                  <a:gd name="connsiteY12" fmla="*/ 62219 h 985775"/>
                  <a:gd name="connsiteX13" fmla="*/ 118099 w 687057"/>
                  <a:gd name="connsiteY13" fmla="*/ 12700 h 985775"/>
                  <a:gd name="connsiteX0" fmla="*/ 118099 w 684147"/>
                  <a:gd name="connsiteY0" fmla="*/ 12700 h 985775"/>
                  <a:gd name="connsiteX1" fmla="*/ 479238 w 684147"/>
                  <a:gd name="connsiteY1" fmla="*/ 0 h 985775"/>
                  <a:gd name="connsiteX2" fmla="*/ 613124 w 684147"/>
                  <a:gd name="connsiteY2" fmla="*/ 179059 h 985775"/>
                  <a:gd name="connsiteX3" fmla="*/ 629090 w 684147"/>
                  <a:gd name="connsiteY3" fmla="*/ 425381 h 985775"/>
                  <a:gd name="connsiteX4" fmla="*/ 669024 w 684147"/>
                  <a:gd name="connsiteY4" fmla="*/ 632380 h 985775"/>
                  <a:gd name="connsiteX5" fmla="*/ 588496 w 684147"/>
                  <a:gd name="connsiteY5" fmla="*/ 721280 h 985775"/>
                  <a:gd name="connsiteX6" fmla="*/ 588496 w 684147"/>
                  <a:gd name="connsiteY6" fmla="*/ 917005 h 985775"/>
                  <a:gd name="connsiteX7" fmla="*/ 523536 w 684147"/>
                  <a:gd name="connsiteY7" fmla="*/ 981965 h 985775"/>
                  <a:gd name="connsiteX8" fmla="*/ 193219 w 684147"/>
                  <a:gd name="connsiteY8" fmla="*/ 985775 h 985775"/>
                  <a:gd name="connsiteX9" fmla="*/ 135879 w 684147"/>
                  <a:gd name="connsiteY9" fmla="*/ 926530 h 985775"/>
                  <a:gd name="connsiteX10" fmla="*/ 118099 w 684147"/>
                  <a:gd name="connsiteY10" fmla="*/ 721280 h 985775"/>
                  <a:gd name="connsiteX11" fmla="*/ 0 w 684147"/>
                  <a:gd name="connsiteY11" fmla="*/ 603181 h 985775"/>
                  <a:gd name="connsiteX12" fmla="*/ 7620 w 684147"/>
                  <a:gd name="connsiteY12" fmla="*/ 62219 h 985775"/>
                  <a:gd name="connsiteX13" fmla="*/ 118099 w 684147"/>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136146 w 684414"/>
                  <a:gd name="connsiteY9" fmla="*/ 92653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69012 w 684414"/>
                  <a:gd name="connsiteY9" fmla="*/ 92907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30052"/>
                  <a:gd name="connsiteY0" fmla="*/ 12700 h 985775"/>
                  <a:gd name="connsiteX1" fmla="*/ 479505 w 630052"/>
                  <a:gd name="connsiteY1" fmla="*/ 0 h 985775"/>
                  <a:gd name="connsiteX2" fmla="*/ 613391 w 630052"/>
                  <a:gd name="connsiteY2" fmla="*/ 179059 h 985775"/>
                  <a:gd name="connsiteX3" fmla="*/ 629357 w 630052"/>
                  <a:gd name="connsiteY3" fmla="*/ 425381 h 985775"/>
                  <a:gd name="connsiteX4" fmla="*/ 588731 w 630052"/>
                  <a:gd name="connsiteY4" fmla="*/ 622220 h 985775"/>
                  <a:gd name="connsiteX5" fmla="*/ 588763 w 630052"/>
                  <a:gd name="connsiteY5" fmla="*/ 721280 h 985775"/>
                  <a:gd name="connsiteX6" fmla="*/ 588763 w 630052"/>
                  <a:gd name="connsiteY6" fmla="*/ 917005 h 985775"/>
                  <a:gd name="connsiteX7" fmla="*/ 523803 w 630052"/>
                  <a:gd name="connsiteY7" fmla="*/ 981965 h 985775"/>
                  <a:gd name="connsiteX8" fmla="*/ 193486 w 630052"/>
                  <a:gd name="connsiteY8" fmla="*/ 985775 h 985775"/>
                  <a:gd name="connsiteX9" fmla="*/ 69012 w 630052"/>
                  <a:gd name="connsiteY9" fmla="*/ 929070 h 985775"/>
                  <a:gd name="connsiteX10" fmla="*/ 57946 w 630052"/>
                  <a:gd name="connsiteY10" fmla="*/ 718740 h 985775"/>
                  <a:gd name="connsiteX11" fmla="*/ 267 w 630052"/>
                  <a:gd name="connsiteY11" fmla="*/ 603181 h 985775"/>
                  <a:gd name="connsiteX12" fmla="*/ 7887 w 630052"/>
                  <a:gd name="connsiteY12" fmla="*/ 62219 h 985775"/>
                  <a:gd name="connsiteX13" fmla="*/ 118366 w 630052"/>
                  <a:gd name="connsiteY13" fmla="*/ 12700 h 9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052" h="985775">
                    <a:moveTo>
                      <a:pt x="118366" y="12700"/>
                    </a:moveTo>
                    <a:lnTo>
                      <a:pt x="479505" y="0"/>
                    </a:lnTo>
                    <a:cubicBezTo>
                      <a:pt x="544729" y="0"/>
                      <a:pt x="613391" y="113835"/>
                      <a:pt x="613391" y="179059"/>
                    </a:cubicBezTo>
                    <a:cubicBezTo>
                      <a:pt x="614238" y="274713"/>
                      <a:pt x="628510" y="329727"/>
                      <a:pt x="629357" y="425381"/>
                    </a:cubicBezTo>
                    <a:cubicBezTo>
                      <a:pt x="629357" y="490605"/>
                      <a:pt x="638715" y="551100"/>
                      <a:pt x="588731" y="622220"/>
                    </a:cubicBezTo>
                    <a:cubicBezTo>
                      <a:pt x="588742" y="655240"/>
                      <a:pt x="588752" y="688260"/>
                      <a:pt x="588763" y="721280"/>
                    </a:cubicBezTo>
                    <a:lnTo>
                      <a:pt x="588763" y="917005"/>
                    </a:lnTo>
                    <a:cubicBezTo>
                      <a:pt x="588763" y="952881"/>
                      <a:pt x="559679" y="981965"/>
                      <a:pt x="523803" y="981965"/>
                    </a:cubicBezTo>
                    <a:lnTo>
                      <a:pt x="193486" y="985775"/>
                    </a:lnTo>
                    <a:cubicBezTo>
                      <a:pt x="157610" y="985775"/>
                      <a:pt x="69012" y="964946"/>
                      <a:pt x="69012" y="929070"/>
                    </a:cubicBezTo>
                    <a:lnTo>
                      <a:pt x="57946" y="718740"/>
                    </a:lnTo>
                    <a:cubicBezTo>
                      <a:pt x="-7278" y="718740"/>
                      <a:pt x="267" y="668405"/>
                      <a:pt x="267" y="603181"/>
                    </a:cubicBezTo>
                    <a:cubicBezTo>
                      <a:pt x="1960" y="422014"/>
                      <a:pt x="6194" y="243386"/>
                      <a:pt x="7887" y="62219"/>
                    </a:cubicBezTo>
                    <a:cubicBezTo>
                      <a:pt x="7887" y="-3005"/>
                      <a:pt x="53142" y="12700"/>
                      <a:pt x="118366" y="1270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5" name="Frihandsfigur: Form 104"/>
              <p:cNvSpPr/>
              <p:nvPr/>
            </p:nvSpPr>
            <p:spPr>
              <a:xfrm flipH="1">
                <a:off x="8036568" y="1913376"/>
                <a:ext cx="301354"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grpSp>
          <p:nvGrpSpPr>
            <p:cNvPr id="110" name="Grupp 109"/>
            <p:cNvGrpSpPr/>
            <p:nvPr/>
          </p:nvGrpSpPr>
          <p:grpSpPr>
            <a:xfrm>
              <a:off x="8524269" y="1312610"/>
              <a:ext cx="586256" cy="1570113"/>
              <a:chOff x="7898574" y="3309233"/>
              <a:chExt cx="586256" cy="1570113"/>
            </a:xfrm>
          </p:grpSpPr>
          <p:sp>
            <p:nvSpPr>
              <p:cNvPr id="106" name="Rektangel: rundade hörn 105"/>
              <p:cNvSpPr/>
              <p:nvPr/>
            </p:nvSpPr>
            <p:spPr>
              <a:xfrm rot="21413852">
                <a:off x="8274081" y="3309233"/>
                <a:ext cx="126519"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7" name="Frihandsfigur: Form 106"/>
              <p:cNvSpPr/>
              <p:nvPr/>
            </p:nvSpPr>
            <p:spPr>
              <a:xfrm>
                <a:off x="7898574" y="3881887"/>
                <a:ext cx="586256" cy="997459"/>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6643"/>
                  <a:gd name="connsiteY0" fmla="*/ 12700 h 985775"/>
                  <a:gd name="connsiteX1" fmla="*/ 479238 w 756643"/>
                  <a:gd name="connsiteY1" fmla="*/ 0 h 985775"/>
                  <a:gd name="connsiteX2" fmla="*/ 754103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756643"/>
                  <a:gd name="connsiteY0" fmla="*/ 12700 h 985775"/>
                  <a:gd name="connsiteX1" fmla="*/ 479238 w 756643"/>
                  <a:gd name="connsiteY1" fmla="*/ 0 h 985775"/>
                  <a:gd name="connsiteX2" fmla="*/ 613124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687057"/>
                  <a:gd name="connsiteY0" fmla="*/ 12700 h 985775"/>
                  <a:gd name="connsiteX1" fmla="*/ 479238 w 687057"/>
                  <a:gd name="connsiteY1" fmla="*/ 0 h 985775"/>
                  <a:gd name="connsiteX2" fmla="*/ 613124 w 687057"/>
                  <a:gd name="connsiteY2" fmla="*/ 179059 h 985775"/>
                  <a:gd name="connsiteX3" fmla="*/ 649230 w 687057"/>
                  <a:gd name="connsiteY3" fmla="*/ 427921 h 985775"/>
                  <a:gd name="connsiteX4" fmla="*/ 669024 w 687057"/>
                  <a:gd name="connsiteY4" fmla="*/ 632380 h 985775"/>
                  <a:gd name="connsiteX5" fmla="*/ 588496 w 687057"/>
                  <a:gd name="connsiteY5" fmla="*/ 721280 h 985775"/>
                  <a:gd name="connsiteX6" fmla="*/ 588496 w 687057"/>
                  <a:gd name="connsiteY6" fmla="*/ 917005 h 985775"/>
                  <a:gd name="connsiteX7" fmla="*/ 523536 w 687057"/>
                  <a:gd name="connsiteY7" fmla="*/ 981965 h 985775"/>
                  <a:gd name="connsiteX8" fmla="*/ 193219 w 687057"/>
                  <a:gd name="connsiteY8" fmla="*/ 985775 h 985775"/>
                  <a:gd name="connsiteX9" fmla="*/ 135879 w 687057"/>
                  <a:gd name="connsiteY9" fmla="*/ 926530 h 985775"/>
                  <a:gd name="connsiteX10" fmla="*/ 118099 w 687057"/>
                  <a:gd name="connsiteY10" fmla="*/ 721280 h 985775"/>
                  <a:gd name="connsiteX11" fmla="*/ 0 w 687057"/>
                  <a:gd name="connsiteY11" fmla="*/ 603181 h 985775"/>
                  <a:gd name="connsiteX12" fmla="*/ 7620 w 687057"/>
                  <a:gd name="connsiteY12" fmla="*/ 62219 h 985775"/>
                  <a:gd name="connsiteX13" fmla="*/ 118099 w 687057"/>
                  <a:gd name="connsiteY13" fmla="*/ 12700 h 985775"/>
                  <a:gd name="connsiteX0" fmla="*/ 118099 w 684147"/>
                  <a:gd name="connsiteY0" fmla="*/ 12700 h 985775"/>
                  <a:gd name="connsiteX1" fmla="*/ 479238 w 684147"/>
                  <a:gd name="connsiteY1" fmla="*/ 0 h 985775"/>
                  <a:gd name="connsiteX2" fmla="*/ 613124 w 684147"/>
                  <a:gd name="connsiteY2" fmla="*/ 179059 h 985775"/>
                  <a:gd name="connsiteX3" fmla="*/ 629090 w 684147"/>
                  <a:gd name="connsiteY3" fmla="*/ 425381 h 985775"/>
                  <a:gd name="connsiteX4" fmla="*/ 669024 w 684147"/>
                  <a:gd name="connsiteY4" fmla="*/ 632380 h 985775"/>
                  <a:gd name="connsiteX5" fmla="*/ 588496 w 684147"/>
                  <a:gd name="connsiteY5" fmla="*/ 721280 h 985775"/>
                  <a:gd name="connsiteX6" fmla="*/ 588496 w 684147"/>
                  <a:gd name="connsiteY6" fmla="*/ 917005 h 985775"/>
                  <a:gd name="connsiteX7" fmla="*/ 523536 w 684147"/>
                  <a:gd name="connsiteY7" fmla="*/ 981965 h 985775"/>
                  <a:gd name="connsiteX8" fmla="*/ 193219 w 684147"/>
                  <a:gd name="connsiteY8" fmla="*/ 985775 h 985775"/>
                  <a:gd name="connsiteX9" fmla="*/ 135879 w 684147"/>
                  <a:gd name="connsiteY9" fmla="*/ 926530 h 985775"/>
                  <a:gd name="connsiteX10" fmla="*/ 118099 w 684147"/>
                  <a:gd name="connsiteY10" fmla="*/ 721280 h 985775"/>
                  <a:gd name="connsiteX11" fmla="*/ 0 w 684147"/>
                  <a:gd name="connsiteY11" fmla="*/ 603181 h 985775"/>
                  <a:gd name="connsiteX12" fmla="*/ 7620 w 684147"/>
                  <a:gd name="connsiteY12" fmla="*/ 62219 h 985775"/>
                  <a:gd name="connsiteX13" fmla="*/ 118099 w 684147"/>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136146 w 684414"/>
                  <a:gd name="connsiteY9" fmla="*/ 92653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69012 w 684414"/>
                  <a:gd name="connsiteY9" fmla="*/ 92907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30052"/>
                  <a:gd name="connsiteY0" fmla="*/ 12700 h 985775"/>
                  <a:gd name="connsiteX1" fmla="*/ 479505 w 630052"/>
                  <a:gd name="connsiteY1" fmla="*/ 0 h 985775"/>
                  <a:gd name="connsiteX2" fmla="*/ 613391 w 630052"/>
                  <a:gd name="connsiteY2" fmla="*/ 179059 h 985775"/>
                  <a:gd name="connsiteX3" fmla="*/ 629357 w 630052"/>
                  <a:gd name="connsiteY3" fmla="*/ 425381 h 985775"/>
                  <a:gd name="connsiteX4" fmla="*/ 588731 w 630052"/>
                  <a:gd name="connsiteY4" fmla="*/ 622220 h 985775"/>
                  <a:gd name="connsiteX5" fmla="*/ 588763 w 630052"/>
                  <a:gd name="connsiteY5" fmla="*/ 721280 h 985775"/>
                  <a:gd name="connsiteX6" fmla="*/ 588763 w 630052"/>
                  <a:gd name="connsiteY6" fmla="*/ 917005 h 985775"/>
                  <a:gd name="connsiteX7" fmla="*/ 523803 w 630052"/>
                  <a:gd name="connsiteY7" fmla="*/ 981965 h 985775"/>
                  <a:gd name="connsiteX8" fmla="*/ 193486 w 630052"/>
                  <a:gd name="connsiteY8" fmla="*/ 985775 h 985775"/>
                  <a:gd name="connsiteX9" fmla="*/ 69012 w 630052"/>
                  <a:gd name="connsiteY9" fmla="*/ 929070 h 985775"/>
                  <a:gd name="connsiteX10" fmla="*/ 57946 w 630052"/>
                  <a:gd name="connsiteY10" fmla="*/ 718740 h 985775"/>
                  <a:gd name="connsiteX11" fmla="*/ 267 w 630052"/>
                  <a:gd name="connsiteY11" fmla="*/ 603181 h 985775"/>
                  <a:gd name="connsiteX12" fmla="*/ 7887 w 630052"/>
                  <a:gd name="connsiteY12" fmla="*/ 62219 h 985775"/>
                  <a:gd name="connsiteX13" fmla="*/ 118366 w 630052"/>
                  <a:gd name="connsiteY13" fmla="*/ 12700 h 985775"/>
                  <a:gd name="connsiteX0" fmla="*/ 122074 w 633760"/>
                  <a:gd name="connsiteY0" fmla="*/ 12700 h 985775"/>
                  <a:gd name="connsiteX1" fmla="*/ 483213 w 633760"/>
                  <a:gd name="connsiteY1" fmla="*/ 0 h 985775"/>
                  <a:gd name="connsiteX2" fmla="*/ 617099 w 633760"/>
                  <a:gd name="connsiteY2" fmla="*/ 179059 h 985775"/>
                  <a:gd name="connsiteX3" fmla="*/ 633065 w 633760"/>
                  <a:gd name="connsiteY3" fmla="*/ 425381 h 985775"/>
                  <a:gd name="connsiteX4" fmla="*/ 592439 w 633760"/>
                  <a:gd name="connsiteY4" fmla="*/ 622220 h 985775"/>
                  <a:gd name="connsiteX5" fmla="*/ 592471 w 633760"/>
                  <a:gd name="connsiteY5" fmla="*/ 721280 h 985775"/>
                  <a:gd name="connsiteX6" fmla="*/ 592471 w 633760"/>
                  <a:gd name="connsiteY6" fmla="*/ 917005 h 985775"/>
                  <a:gd name="connsiteX7" fmla="*/ 527511 w 633760"/>
                  <a:gd name="connsiteY7" fmla="*/ 981965 h 985775"/>
                  <a:gd name="connsiteX8" fmla="*/ 197194 w 633760"/>
                  <a:gd name="connsiteY8" fmla="*/ 985775 h 985775"/>
                  <a:gd name="connsiteX9" fmla="*/ 72720 w 633760"/>
                  <a:gd name="connsiteY9" fmla="*/ 929070 h 985775"/>
                  <a:gd name="connsiteX10" fmla="*/ 61654 w 633760"/>
                  <a:gd name="connsiteY10" fmla="*/ 718740 h 985775"/>
                  <a:gd name="connsiteX11" fmla="*/ 3975 w 633760"/>
                  <a:gd name="connsiteY11" fmla="*/ 603181 h 985775"/>
                  <a:gd name="connsiteX12" fmla="*/ 5743 w 633760"/>
                  <a:gd name="connsiteY12" fmla="*/ 342879 h 985775"/>
                  <a:gd name="connsiteX13" fmla="*/ 11595 w 633760"/>
                  <a:gd name="connsiteY13" fmla="*/ 62219 h 985775"/>
                  <a:gd name="connsiteX14" fmla="*/ 122074 w 633760"/>
                  <a:gd name="connsiteY14" fmla="*/ 12700 h 985775"/>
                  <a:gd name="connsiteX0" fmla="*/ 122074 w 1213095"/>
                  <a:gd name="connsiteY0" fmla="*/ 12700 h 985775"/>
                  <a:gd name="connsiteX1" fmla="*/ 483213 w 1213095"/>
                  <a:gd name="connsiteY1" fmla="*/ 0 h 985775"/>
                  <a:gd name="connsiteX2" fmla="*/ 617099 w 1213095"/>
                  <a:gd name="connsiteY2" fmla="*/ 179059 h 985775"/>
                  <a:gd name="connsiteX3" fmla="*/ 1213095 w 1213095"/>
                  <a:gd name="connsiteY3" fmla="*/ 577781 h 985775"/>
                  <a:gd name="connsiteX4" fmla="*/ 592439 w 1213095"/>
                  <a:gd name="connsiteY4" fmla="*/ 622220 h 985775"/>
                  <a:gd name="connsiteX5" fmla="*/ 592471 w 1213095"/>
                  <a:gd name="connsiteY5" fmla="*/ 721280 h 985775"/>
                  <a:gd name="connsiteX6" fmla="*/ 592471 w 1213095"/>
                  <a:gd name="connsiteY6" fmla="*/ 917005 h 985775"/>
                  <a:gd name="connsiteX7" fmla="*/ 527511 w 1213095"/>
                  <a:gd name="connsiteY7" fmla="*/ 981965 h 985775"/>
                  <a:gd name="connsiteX8" fmla="*/ 197194 w 1213095"/>
                  <a:gd name="connsiteY8" fmla="*/ 985775 h 985775"/>
                  <a:gd name="connsiteX9" fmla="*/ 72720 w 1213095"/>
                  <a:gd name="connsiteY9" fmla="*/ 929070 h 985775"/>
                  <a:gd name="connsiteX10" fmla="*/ 61654 w 1213095"/>
                  <a:gd name="connsiteY10" fmla="*/ 718740 h 985775"/>
                  <a:gd name="connsiteX11" fmla="*/ 3975 w 1213095"/>
                  <a:gd name="connsiteY11" fmla="*/ 603181 h 985775"/>
                  <a:gd name="connsiteX12" fmla="*/ 5743 w 1213095"/>
                  <a:gd name="connsiteY12" fmla="*/ 342879 h 985775"/>
                  <a:gd name="connsiteX13" fmla="*/ 11595 w 1213095"/>
                  <a:gd name="connsiteY13" fmla="*/ 62219 h 985775"/>
                  <a:gd name="connsiteX14" fmla="*/ 122074 w 1213095"/>
                  <a:gd name="connsiteY14" fmla="*/ 12700 h 985775"/>
                  <a:gd name="connsiteX0" fmla="*/ 122074 w 1213095"/>
                  <a:gd name="connsiteY0" fmla="*/ 12700 h 985775"/>
                  <a:gd name="connsiteX1" fmla="*/ 483213 w 1213095"/>
                  <a:gd name="connsiteY1" fmla="*/ 0 h 985775"/>
                  <a:gd name="connsiteX2" fmla="*/ 617099 w 1213095"/>
                  <a:gd name="connsiteY2" fmla="*/ 179059 h 985775"/>
                  <a:gd name="connsiteX3" fmla="*/ 1213095 w 1213095"/>
                  <a:gd name="connsiteY3" fmla="*/ 577781 h 985775"/>
                  <a:gd name="connsiteX4" fmla="*/ 737446 w 1213095"/>
                  <a:gd name="connsiteY4" fmla="*/ 664892 h 985775"/>
                  <a:gd name="connsiteX5" fmla="*/ 592471 w 1213095"/>
                  <a:gd name="connsiteY5" fmla="*/ 721280 h 985775"/>
                  <a:gd name="connsiteX6" fmla="*/ 592471 w 1213095"/>
                  <a:gd name="connsiteY6" fmla="*/ 917005 h 985775"/>
                  <a:gd name="connsiteX7" fmla="*/ 527511 w 1213095"/>
                  <a:gd name="connsiteY7" fmla="*/ 981965 h 985775"/>
                  <a:gd name="connsiteX8" fmla="*/ 197194 w 1213095"/>
                  <a:gd name="connsiteY8" fmla="*/ 985775 h 985775"/>
                  <a:gd name="connsiteX9" fmla="*/ 72720 w 1213095"/>
                  <a:gd name="connsiteY9" fmla="*/ 929070 h 985775"/>
                  <a:gd name="connsiteX10" fmla="*/ 61654 w 1213095"/>
                  <a:gd name="connsiteY10" fmla="*/ 718740 h 985775"/>
                  <a:gd name="connsiteX11" fmla="*/ 3975 w 1213095"/>
                  <a:gd name="connsiteY11" fmla="*/ 603181 h 985775"/>
                  <a:gd name="connsiteX12" fmla="*/ 5743 w 1213095"/>
                  <a:gd name="connsiteY12" fmla="*/ 342879 h 985775"/>
                  <a:gd name="connsiteX13" fmla="*/ 11595 w 1213095"/>
                  <a:gd name="connsiteY13" fmla="*/ 62219 h 985775"/>
                  <a:gd name="connsiteX14" fmla="*/ 122074 w 1213095"/>
                  <a:gd name="connsiteY14" fmla="*/ 12700 h 985775"/>
                  <a:gd name="connsiteX0" fmla="*/ 122074 w 1213095"/>
                  <a:gd name="connsiteY0" fmla="*/ 12700 h 985775"/>
                  <a:gd name="connsiteX1" fmla="*/ 483213 w 1213095"/>
                  <a:gd name="connsiteY1" fmla="*/ 0 h 985775"/>
                  <a:gd name="connsiteX2" fmla="*/ 617099 w 1213095"/>
                  <a:gd name="connsiteY2" fmla="*/ 179059 h 985775"/>
                  <a:gd name="connsiteX3" fmla="*/ 1213095 w 1213095"/>
                  <a:gd name="connsiteY3" fmla="*/ 577781 h 985775"/>
                  <a:gd name="connsiteX4" fmla="*/ 737446 w 1213095"/>
                  <a:gd name="connsiteY4" fmla="*/ 664892 h 985775"/>
                  <a:gd name="connsiteX5" fmla="*/ 592471 w 1213095"/>
                  <a:gd name="connsiteY5" fmla="*/ 721280 h 985775"/>
                  <a:gd name="connsiteX6" fmla="*/ 592471 w 1213095"/>
                  <a:gd name="connsiteY6" fmla="*/ 917005 h 985775"/>
                  <a:gd name="connsiteX7" fmla="*/ 527511 w 1213095"/>
                  <a:gd name="connsiteY7" fmla="*/ 981965 h 985775"/>
                  <a:gd name="connsiteX8" fmla="*/ 197194 w 1213095"/>
                  <a:gd name="connsiteY8" fmla="*/ 985775 h 985775"/>
                  <a:gd name="connsiteX9" fmla="*/ 72720 w 1213095"/>
                  <a:gd name="connsiteY9" fmla="*/ 929070 h 985775"/>
                  <a:gd name="connsiteX10" fmla="*/ 61654 w 1213095"/>
                  <a:gd name="connsiteY10" fmla="*/ 718740 h 985775"/>
                  <a:gd name="connsiteX11" fmla="*/ 3975 w 1213095"/>
                  <a:gd name="connsiteY11" fmla="*/ 603181 h 985775"/>
                  <a:gd name="connsiteX12" fmla="*/ 5743 w 1213095"/>
                  <a:gd name="connsiteY12" fmla="*/ 342879 h 985775"/>
                  <a:gd name="connsiteX13" fmla="*/ 11595 w 1213095"/>
                  <a:gd name="connsiteY13" fmla="*/ 62219 h 985775"/>
                  <a:gd name="connsiteX14" fmla="*/ 122074 w 1213095"/>
                  <a:gd name="connsiteY14" fmla="*/ 12700 h 985775"/>
                  <a:gd name="connsiteX0" fmla="*/ 122074 w 1213095"/>
                  <a:gd name="connsiteY0" fmla="*/ 12700 h 985775"/>
                  <a:gd name="connsiteX1" fmla="*/ 483213 w 1213095"/>
                  <a:gd name="connsiteY1" fmla="*/ 0 h 985775"/>
                  <a:gd name="connsiteX2" fmla="*/ 617099 w 1213095"/>
                  <a:gd name="connsiteY2" fmla="*/ 179059 h 985775"/>
                  <a:gd name="connsiteX3" fmla="*/ 1213095 w 1213095"/>
                  <a:gd name="connsiteY3" fmla="*/ 577781 h 985775"/>
                  <a:gd name="connsiteX4" fmla="*/ 737446 w 1213095"/>
                  <a:gd name="connsiteY4" fmla="*/ 664892 h 985775"/>
                  <a:gd name="connsiteX5" fmla="*/ 592471 w 1213095"/>
                  <a:gd name="connsiteY5" fmla="*/ 721280 h 985775"/>
                  <a:gd name="connsiteX6" fmla="*/ 592471 w 1213095"/>
                  <a:gd name="connsiteY6" fmla="*/ 917005 h 985775"/>
                  <a:gd name="connsiteX7" fmla="*/ 527511 w 1213095"/>
                  <a:gd name="connsiteY7" fmla="*/ 981965 h 985775"/>
                  <a:gd name="connsiteX8" fmla="*/ 197194 w 1213095"/>
                  <a:gd name="connsiteY8" fmla="*/ 985775 h 985775"/>
                  <a:gd name="connsiteX9" fmla="*/ 72720 w 1213095"/>
                  <a:gd name="connsiteY9" fmla="*/ 929070 h 985775"/>
                  <a:gd name="connsiteX10" fmla="*/ 61654 w 1213095"/>
                  <a:gd name="connsiteY10" fmla="*/ 718740 h 985775"/>
                  <a:gd name="connsiteX11" fmla="*/ 3975 w 1213095"/>
                  <a:gd name="connsiteY11" fmla="*/ 603181 h 985775"/>
                  <a:gd name="connsiteX12" fmla="*/ 5743 w 1213095"/>
                  <a:gd name="connsiteY12" fmla="*/ 342879 h 985775"/>
                  <a:gd name="connsiteX13" fmla="*/ 11595 w 1213095"/>
                  <a:gd name="connsiteY13" fmla="*/ 62219 h 985775"/>
                  <a:gd name="connsiteX14" fmla="*/ 122074 w 1213095"/>
                  <a:gd name="connsiteY14" fmla="*/ 12700 h 985775"/>
                  <a:gd name="connsiteX0" fmla="*/ 122074 w 1228292"/>
                  <a:gd name="connsiteY0" fmla="*/ 12700 h 985775"/>
                  <a:gd name="connsiteX1" fmla="*/ 483213 w 1228292"/>
                  <a:gd name="connsiteY1" fmla="*/ 0 h 985775"/>
                  <a:gd name="connsiteX2" fmla="*/ 617099 w 1228292"/>
                  <a:gd name="connsiteY2" fmla="*/ 179059 h 985775"/>
                  <a:gd name="connsiteX3" fmla="*/ 1213095 w 1228292"/>
                  <a:gd name="connsiteY3" fmla="*/ 577781 h 985775"/>
                  <a:gd name="connsiteX4" fmla="*/ 737446 w 1228292"/>
                  <a:gd name="connsiteY4" fmla="*/ 664892 h 985775"/>
                  <a:gd name="connsiteX5" fmla="*/ 592471 w 1228292"/>
                  <a:gd name="connsiteY5" fmla="*/ 721280 h 985775"/>
                  <a:gd name="connsiteX6" fmla="*/ 592471 w 1228292"/>
                  <a:gd name="connsiteY6" fmla="*/ 917005 h 985775"/>
                  <a:gd name="connsiteX7" fmla="*/ 527511 w 1228292"/>
                  <a:gd name="connsiteY7" fmla="*/ 981965 h 985775"/>
                  <a:gd name="connsiteX8" fmla="*/ 197194 w 1228292"/>
                  <a:gd name="connsiteY8" fmla="*/ 985775 h 985775"/>
                  <a:gd name="connsiteX9" fmla="*/ 72720 w 1228292"/>
                  <a:gd name="connsiteY9" fmla="*/ 929070 h 985775"/>
                  <a:gd name="connsiteX10" fmla="*/ 61654 w 1228292"/>
                  <a:gd name="connsiteY10" fmla="*/ 718740 h 985775"/>
                  <a:gd name="connsiteX11" fmla="*/ 3975 w 1228292"/>
                  <a:gd name="connsiteY11" fmla="*/ 603181 h 985775"/>
                  <a:gd name="connsiteX12" fmla="*/ 5743 w 1228292"/>
                  <a:gd name="connsiteY12" fmla="*/ 342879 h 985775"/>
                  <a:gd name="connsiteX13" fmla="*/ 11595 w 1228292"/>
                  <a:gd name="connsiteY13" fmla="*/ 62219 h 985775"/>
                  <a:gd name="connsiteX14" fmla="*/ 122074 w 1228292"/>
                  <a:gd name="connsiteY14" fmla="*/ 12700 h 985775"/>
                  <a:gd name="connsiteX0" fmla="*/ 122074 w 1228292"/>
                  <a:gd name="connsiteY0" fmla="*/ 12700 h 985775"/>
                  <a:gd name="connsiteX1" fmla="*/ 483213 w 1228292"/>
                  <a:gd name="connsiteY1" fmla="*/ 0 h 985775"/>
                  <a:gd name="connsiteX2" fmla="*/ 617099 w 1228292"/>
                  <a:gd name="connsiteY2" fmla="*/ 179059 h 985775"/>
                  <a:gd name="connsiteX3" fmla="*/ 1213095 w 1228292"/>
                  <a:gd name="connsiteY3" fmla="*/ 577781 h 985775"/>
                  <a:gd name="connsiteX4" fmla="*/ 737446 w 1228292"/>
                  <a:gd name="connsiteY4" fmla="*/ 664892 h 985775"/>
                  <a:gd name="connsiteX5" fmla="*/ 592471 w 1228292"/>
                  <a:gd name="connsiteY5" fmla="*/ 721280 h 985775"/>
                  <a:gd name="connsiteX6" fmla="*/ 592471 w 1228292"/>
                  <a:gd name="connsiteY6" fmla="*/ 917005 h 985775"/>
                  <a:gd name="connsiteX7" fmla="*/ 527511 w 1228292"/>
                  <a:gd name="connsiteY7" fmla="*/ 981965 h 985775"/>
                  <a:gd name="connsiteX8" fmla="*/ 197194 w 1228292"/>
                  <a:gd name="connsiteY8" fmla="*/ 985775 h 985775"/>
                  <a:gd name="connsiteX9" fmla="*/ 72720 w 1228292"/>
                  <a:gd name="connsiteY9" fmla="*/ 929070 h 985775"/>
                  <a:gd name="connsiteX10" fmla="*/ 61654 w 1228292"/>
                  <a:gd name="connsiteY10" fmla="*/ 718740 h 985775"/>
                  <a:gd name="connsiteX11" fmla="*/ 3975 w 1228292"/>
                  <a:gd name="connsiteY11" fmla="*/ 603181 h 985775"/>
                  <a:gd name="connsiteX12" fmla="*/ 5743 w 1228292"/>
                  <a:gd name="connsiteY12" fmla="*/ 342879 h 985775"/>
                  <a:gd name="connsiteX13" fmla="*/ 11595 w 1228292"/>
                  <a:gd name="connsiteY13" fmla="*/ 62219 h 985775"/>
                  <a:gd name="connsiteX14" fmla="*/ 122074 w 1228292"/>
                  <a:gd name="connsiteY14" fmla="*/ 12700 h 985775"/>
                  <a:gd name="connsiteX0" fmla="*/ 122074 w 1583817"/>
                  <a:gd name="connsiteY0" fmla="*/ 12700 h 985775"/>
                  <a:gd name="connsiteX1" fmla="*/ 483213 w 1583817"/>
                  <a:gd name="connsiteY1" fmla="*/ 0 h 985775"/>
                  <a:gd name="connsiteX2" fmla="*/ 1583814 w 1583817"/>
                  <a:gd name="connsiteY2" fmla="*/ 288787 h 985775"/>
                  <a:gd name="connsiteX3" fmla="*/ 1213095 w 1583817"/>
                  <a:gd name="connsiteY3" fmla="*/ 577781 h 985775"/>
                  <a:gd name="connsiteX4" fmla="*/ 737446 w 1583817"/>
                  <a:gd name="connsiteY4" fmla="*/ 664892 h 985775"/>
                  <a:gd name="connsiteX5" fmla="*/ 592471 w 1583817"/>
                  <a:gd name="connsiteY5" fmla="*/ 721280 h 985775"/>
                  <a:gd name="connsiteX6" fmla="*/ 592471 w 1583817"/>
                  <a:gd name="connsiteY6" fmla="*/ 917005 h 985775"/>
                  <a:gd name="connsiteX7" fmla="*/ 527511 w 1583817"/>
                  <a:gd name="connsiteY7" fmla="*/ 981965 h 985775"/>
                  <a:gd name="connsiteX8" fmla="*/ 197194 w 1583817"/>
                  <a:gd name="connsiteY8" fmla="*/ 985775 h 985775"/>
                  <a:gd name="connsiteX9" fmla="*/ 72720 w 1583817"/>
                  <a:gd name="connsiteY9" fmla="*/ 929070 h 985775"/>
                  <a:gd name="connsiteX10" fmla="*/ 61654 w 1583817"/>
                  <a:gd name="connsiteY10" fmla="*/ 718740 h 985775"/>
                  <a:gd name="connsiteX11" fmla="*/ 3975 w 1583817"/>
                  <a:gd name="connsiteY11" fmla="*/ 603181 h 985775"/>
                  <a:gd name="connsiteX12" fmla="*/ 5743 w 1583817"/>
                  <a:gd name="connsiteY12" fmla="*/ 342879 h 985775"/>
                  <a:gd name="connsiteX13" fmla="*/ 11595 w 1583817"/>
                  <a:gd name="connsiteY13" fmla="*/ 62219 h 985775"/>
                  <a:gd name="connsiteX14" fmla="*/ 122074 w 1583817"/>
                  <a:gd name="connsiteY14" fmla="*/ 12700 h 985775"/>
                  <a:gd name="connsiteX0" fmla="*/ 122074 w 1583817"/>
                  <a:gd name="connsiteY0" fmla="*/ 18796 h 991871"/>
                  <a:gd name="connsiteX1" fmla="*/ 1482153 w 1583817"/>
                  <a:gd name="connsiteY1" fmla="*/ 0 h 991871"/>
                  <a:gd name="connsiteX2" fmla="*/ 1583814 w 1583817"/>
                  <a:gd name="connsiteY2" fmla="*/ 294883 h 991871"/>
                  <a:gd name="connsiteX3" fmla="*/ 1213095 w 1583817"/>
                  <a:gd name="connsiteY3" fmla="*/ 583877 h 991871"/>
                  <a:gd name="connsiteX4" fmla="*/ 737446 w 1583817"/>
                  <a:gd name="connsiteY4" fmla="*/ 670988 h 991871"/>
                  <a:gd name="connsiteX5" fmla="*/ 592471 w 1583817"/>
                  <a:gd name="connsiteY5" fmla="*/ 727376 h 991871"/>
                  <a:gd name="connsiteX6" fmla="*/ 592471 w 1583817"/>
                  <a:gd name="connsiteY6" fmla="*/ 923101 h 991871"/>
                  <a:gd name="connsiteX7" fmla="*/ 527511 w 1583817"/>
                  <a:gd name="connsiteY7" fmla="*/ 988061 h 991871"/>
                  <a:gd name="connsiteX8" fmla="*/ 197194 w 1583817"/>
                  <a:gd name="connsiteY8" fmla="*/ 991871 h 991871"/>
                  <a:gd name="connsiteX9" fmla="*/ 72720 w 1583817"/>
                  <a:gd name="connsiteY9" fmla="*/ 935166 h 991871"/>
                  <a:gd name="connsiteX10" fmla="*/ 61654 w 1583817"/>
                  <a:gd name="connsiteY10" fmla="*/ 724836 h 991871"/>
                  <a:gd name="connsiteX11" fmla="*/ 3975 w 1583817"/>
                  <a:gd name="connsiteY11" fmla="*/ 609277 h 991871"/>
                  <a:gd name="connsiteX12" fmla="*/ 5743 w 1583817"/>
                  <a:gd name="connsiteY12" fmla="*/ 348975 h 991871"/>
                  <a:gd name="connsiteX13" fmla="*/ 11595 w 1583817"/>
                  <a:gd name="connsiteY13" fmla="*/ 68315 h 991871"/>
                  <a:gd name="connsiteX14" fmla="*/ 122074 w 1583817"/>
                  <a:gd name="connsiteY14" fmla="*/ 18796 h 991871"/>
                  <a:gd name="connsiteX0" fmla="*/ 1040454 w 1583817"/>
                  <a:gd name="connsiteY0" fmla="*/ 0 h 997459"/>
                  <a:gd name="connsiteX1" fmla="*/ 1482153 w 1583817"/>
                  <a:gd name="connsiteY1" fmla="*/ 5588 h 997459"/>
                  <a:gd name="connsiteX2" fmla="*/ 1583814 w 1583817"/>
                  <a:gd name="connsiteY2" fmla="*/ 300471 h 997459"/>
                  <a:gd name="connsiteX3" fmla="*/ 1213095 w 1583817"/>
                  <a:gd name="connsiteY3" fmla="*/ 589465 h 997459"/>
                  <a:gd name="connsiteX4" fmla="*/ 737446 w 1583817"/>
                  <a:gd name="connsiteY4" fmla="*/ 676576 h 997459"/>
                  <a:gd name="connsiteX5" fmla="*/ 592471 w 1583817"/>
                  <a:gd name="connsiteY5" fmla="*/ 732964 h 997459"/>
                  <a:gd name="connsiteX6" fmla="*/ 592471 w 1583817"/>
                  <a:gd name="connsiteY6" fmla="*/ 928689 h 997459"/>
                  <a:gd name="connsiteX7" fmla="*/ 527511 w 1583817"/>
                  <a:gd name="connsiteY7" fmla="*/ 993649 h 997459"/>
                  <a:gd name="connsiteX8" fmla="*/ 197194 w 1583817"/>
                  <a:gd name="connsiteY8" fmla="*/ 997459 h 997459"/>
                  <a:gd name="connsiteX9" fmla="*/ 72720 w 1583817"/>
                  <a:gd name="connsiteY9" fmla="*/ 940754 h 997459"/>
                  <a:gd name="connsiteX10" fmla="*/ 61654 w 1583817"/>
                  <a:gd name="connsiteY10" fmla="*/ 730424 h 997459"/>
                  <a:gd name="connsiteX11" fmla="*/ 3975 w 1583817"/>
                  <a:gd name="connsiteY11" fmla="*/ 614865 h 997459"/>
                  <a:gd name="connsiteX12" fmla="*/ 5743 w 1583817"/>
                  <a:gd name="connsiteY12" fmla="*/ 354563 h 997459"/>
                  <a:gd name="connsiteX13" fmla="*/ 11595 w 1583817"/>
                  <a:gd name="connsiteY13" fmla="*/ 73903 h 997459"/>
                  <a:gd name="connsiteX14" fmla="*/ 1040454 w 1583817"/>
                  <a:gd name="connsiteY14" fmla="*/ 0 h 997459"/>
                  <a:gd name="connsiteX0" fmla="*/ 1040454 w 1583817"/>
                  <a:gd name="connsiteY0" fmla="*/ 0 h 997459"/>
                  <a:gd name="connsiteX1" fmla="*/ 1482153 w 1583817"/>
                  <a:gd name="connsiteY1" fmla="*/ 5588 h 997459"/>
                  <a:gd name="connsiteX2" fmla="*/ 1583814 w 1583817"/>
                  <a:gd name="connsiteY2" fmla="*/ 300471 h 997459"/>
                  <a:gd name="connsiteX3" fmla="*/ 1213095 w 1583817"/>
                  <a:gd name="connsiteY3" fmla="*/ 589465 h 997459"/>
                  <a:gd name="connsiteX4" fmla="*/ 737446 w 1583817"/>
                  <a:gd name="connsiteY4" fmla="*/ 676576 h 997459"/>
                  <a:gd name="connsiteX5" fmla="*/ 592471 w 1583817"/>
                  <a:gd name="connsiteY5" fmla="*/ 732964 h 997459"/>
                  <a:gd name="connsiteX6" fmla="*/ 592471 w 1583817"/>
                  <a:gd name="connsiteY6" fmla="*/ 928689 h 997459"/>
                  <a:gd name="connsiteX7" fmla="*/ 527511 w 1583817"/>
                  <a:gd name="connsiteY7" fmla="*/ 993649 h 997459"/>
                  <a:gd name="connsiteX8" fmla="*/ 197194 w 1583817"/>
                  <a:gd name="connsiteY8" fmla="*/ 997459 h 997459"/>
                  <a:gd name="connsiteX9" fmla="*/ 72720 w 1583817"/>
                  <a:gd name="connsiteY9" fmla="*/ 940754 h 997459"/>
                  <a:gd name="connsiteX10" fmla="*/ 61654 w 1583817"/>
                  <a:gd name="connsiteY10" fmla="*/ 730424 h 997459"/>
                  <a:gd name="connsiteX11" fmla="*/ 3975 w 1583817"/>
                  <a:gd name="connsiteY11" fmla="*/ 614865 h 997459"/>
                  <a:gd name="connsiteX12" fmla="*/ 5743 w 1583817"/>
                  <a:gd name="connsiteY12" fmla="*/ 354563 h 997459"/>
                  <a:gd name="connsiteX13" fmla="*/ 994423 w 1583817"/>
                  <a:gd name="connsiteY13" fmla="*/ 147055 h 997459"/>
                  <a:gd name="connsiteX14" fmla="*/ 1040454 w 1583817"/>
                  <a:gd name="connsiteY14" fmla="*/ 0 h 997459"/>
                  <a:gd name="connsiteX0" fmla="*/ 1036746 w 1580109"/>
                  <a:gd name="connsiteY0" fmla="*/ 0 h 997459"/>
                  <a:gd name="connsiteX1" fmla="*/ 1478445 w 1580109"/>
                  <a:gd name="connsiteY1" fmla="*/ 5588 h 997459"/>
                  <a:gd name="connsiteX2" fmla="*/ 1580106 w 1580109"/>
                  <a:gd name="connsiteY2" fmla="*/ 300471 h 997459"/>
                  <a:gd name="connsiteX3" fmla="*/ 1209387 w 1580109"/>
                  <a:gd name="connsiteY3" fmla="*/ 589465 h 997459"/>
                  <a:gd name="connsiteX4" fmla="*/ 733738 w 1580109"/>
                  <a:gd name="connsiteY4" fmla="*/ 676576 h 997459"/>
                  <a:gd name="connsiteX5" fmla="*/ 588763 w 1580109"/>
                  <a:gd name="connsiteY5" fmla="*/ 732964 h 997459"/>
                  <a:gd name="connsiteX6" fmla="*/ 588763 w 1580109"/>
                  <a:gd name="connsiteY6" fmla="*/ 928689 h 997459"/>
                  <a:gd name="connsiteX7" fmla="*/ 523803 w 1580109"/>
                  <a:gd name="connsiteY7" fmla="*/ 993649 h 997459"/>
                  <a:gd name="connsiteX8" fmla="*/ 193486 w 1580109"/>
                  <a:gd name="connsiteY8" fmla="*/ 997459 h 997459"/>
                  <a:gd name="connsiteX9" fmla="*/ 69012 w 1580109"/>
                  <a:gd name="connsiteY9" fmla="*/ 940754 h 997459"/>
                  <a:gd name="connsiteX10" fmla="*/ 57946 w 1580109"/>
                  <a:gd name="connsiteY10" fmla="*/ 730424 h 997459"/>
                  <a:gd name="connsiteX11" fmla="*/ 267 w 1580109"/>
                  <a:gd name="connsiteY11" fmla="*/ 614865 h 997459"/>
                  <a:gd name="connsiteX12" fmla="*/ 872080 w 1580109"/>
                  <a:gd name="connsiteY12" fmla="*/ 348467 h 997459"/>
                  <a:gd name="connsiteX13" fmla="*/ 990715 w 1580109"/>
                  <a:gd name="connsiteY13" fmla="*/ 147055 h 997459"/>
                  <a:gd name="connsiteX14" fmla="*/ 1036746 w 1580109"/>
                  <a:gd name="connsiteY14" fmla="*/ 0 h 997459"/>
                  <a:gd name="connsiteX0" fmla="*/ 996461 w 1539824"/>
                  <a:gd name="connsiteY0" fmla="*/ 0 h 997459"/>
                  <a:gd name="connsiteX1" fmla="*/ 1438160 w 1539824"/>
                  <a:gd name="connsiteY1" fmla="*/ 5588 h 997459"/>
                  <a:gd name="connsiteX2" fmla="*/ 1539821 w 1539824"/>
                  <a:gd name="connsiteY2" fmla="*/ 300471 h 997459"/>
                  <a:gd name="connsiteX3" fmla="*/ 1169102 w 1539824"/>
                  <a:gd name="connsiteY3" fmla="*/ 589465 h 997459"/>
                  <a:gd name="connsiteX4" fmla="*/ 693453 w 1539824"/>
                  <a:gd name="connsiteY4" fmla="*/ 676576 h 997459"/>
                  <a:gd name="connsiteX5" fmla="*/ 548478 w 1539824"/>
                  <a:gd name="connsiteY5" fmla="*/ 732964 h 997459"/>
                  <a:gd name="connsiteX6" fmla="*/ 548478 w 1539824"/>
                  <a:gd name="connsiteY6" fmla="*/ 928689 h 997459"/>
                  <a:gd name="connsiteX7" fmla="*/ 483518 w 1539824"/>
                  <a:gd name="connsiteY7" fmla="*/ 993649 h 997459"/>
                  <a:gd name="connsiteX8" fmla="*/ 153201 w 1539824"/>
                  <a:gd name="connsiteY8" fmla="*/ 997459 h 997459"/>
                  <a:gd name="connsiteX9" fmla="*/ 28727 w 1539824"/>
                  <a:gd name="connsiteY9" fmla="*/ 940754 h 997459"/>
                  <a:gd name="connsiteX10" fmla="*/ 17661 w 1539824"/>
                  <a:gd name="connsiteY10" fmla="*/ 730424 h 997459"/>
                  <a:gd name="connsiteX11" fmla="*/ 88877 w 1539824"/>
                  <a:gd name="connsiteY11" fmla="*/ 517329 h 997459"/>
                  <a:gd name="connsiteX12" fmla="*/ 831795 w 1539824"/>
                  <a:gd name="connsiteY12" fmla="*/ 348467 h 997459"/>
                  <a:gd name="connsiteX13" fmla="*/ 950430 w 1539824"/>
                  <a:gd name="connsiteY13" fmla="*/ 147055 h 997459"/>
                  <a:gd name="connsiteX14" fmla="*/ 996461 w 1539824"/>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60101 w 1549495"/>
                  <a:gd name="connsiteY13" fmla="*/ 147055 h 997459"/>
                  <a:gd name="connsiteX14" fmla="*/ 1006132 w 1549495"/>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60101 w 1549495"/>
                  <a:gd name="connsiteY13" fmla="*/ 147055 h 997459"/>
                  <a:gd name="connsiteX14" fmla="*/ 1006132 w 1549495"/>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60101 w 1549495"/>
                  <a:gd name="connsiteY13" fmla="*/ 147055 h 997459"/>
                  <a:gd name="connsiteX14" fmla="*/ 1006132 w 1549495"/>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60101 w 1549495"/>
                  <a:gd name="connsiteY13" fmla="*/ 147055 h 997459"/>
                  <a:gd name="connsiteX14" fmla="*/ 1006132 w 1549495"/>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43989 w 1549495"/>
                  <a:gd name="connsiteY13" fmla="*/ 116575 h 997459"/>
                  <a:gd name="connsiteX14" fmla="*/ 1006132 w 1549495"/>
                  <a:gd name="connsiteY14" fmla="*/ 0 h 99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9495" h="997459">
                    <a:moveTo>
                      <a:pt x="1006132" y="0"/>
                    </a:moveTo>
                    <a:lnTo>
                      <a:pt x="1447831" y="5588"/>
                    </a:lnTo>
                    <a:cubicBezTo>
                      <a:pt x="1513055" y="5588"/>
                      <a:pt x="1549492" y="235247"/>
                      <a:pt x="1549492" y="300471"/>
                    </a:cubicBezTo>
                    <a:cubicBezTo>
                      <a:pt x="1550339" y="396125"/>
                      <a:pt x="1306823" y="463331"/>
                      <a:pt x="1178773" y="589465"/>
                    </a:cubicBezTo>
                    <a:cubicBezTo>
                      <a:pt x="1001541" y="654689"/>
                      <a:pt x="978674" y="660320"/>
                      <a:pt x="703124" y="676576"/>
                    </a:cubicBezTo>
                    <a:cubicBezTo>
                      <a:pt x="477568" y="703500"/>
                      <a:pt x="558138" y="699944"/>
                      <a:pt x="558149" y="732964"/>
                    </a:cubicBezTo>
                    <a:lnTo>
                      <a:pt x="558149" y="928689"/>
                    </a:lnTo>
                    <a:cubicBezTo>
                      <a:pt x="558149" y="964565"/>
                      <a:pt x="529065" y="993649"/>
                      <a:pt x="493189" y="993649"/>
                    </a:cubicBezTo>
                    <a:lnTo>
                      <a:pt x="162872" y="997459"/>
                    </a:lnTo>
                    <a:cubicBezTo>
                      <a:pt x="126996" y="997459"/>
                      <a:pt x="38398" y="976630"/>
                      <a:pt x="38398" y="940754"/>
                    </a:cubicBezTo>
                    <a:lnTo>
                      <a:pt x="27332" y="730424"/>
                    </a:lnTo>
                    <a:cubicBezTo>
                      <a:pt x="-37892" y="730424"/>
                      <a:pt x="34101" y="582553"/>
                      <a:pt x="34101" y="517329"/>
                    </a:cubicBezTo>
                    <a:cubicBezTo>
                      <a:pt x="24783" y="454686"/>
                      <a:pt x="598518" y="420339"/>
                      <a:pt x="841466" y="348467"/>
                    </a:cubicBezTo>
                    <a:cubicBezTo>
                      <a:pt x="987744" y="233923"/>
                      <a:pt x="989050" y="195989"/>
                      <a:pt x="943989" y="116575"/>
                    </a:cubicBezTo>
                    <a:cubicBezTo>
                      <a:pt x="943989" y="51351"/>
                      <a:pt x="940908" y="0"/>
                      <a:pt x="1006132"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8" name="Frihandsfigur: Form 107"/>
              <p:cNvSpPr/>
              <p:nvPr/>
            </p:nvSpPr>
            <p:spPr>
              <a:xfrm rot="1658496" flipH="1">
                <a:off x="7978342" y="3910902"/>
                <a:ext cx="301354"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grpSp>
    </p:spTree>
    <p:extLst>
      <p:ext uri="{BB962C8B-B14F-4D97-AF65-F5344CB8AC3E}">
        <p14:creationId xmlns:p14="http://schemas.microsoft.com/office/powerpoint/2010/main" val="2970133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Experimental setup</a:t>
            </a:r>
          </a:p>
        </p:txBody>
      </p:sp>
      <p:pic>
        <p:nvPicPr>
          <p:cNvPr id="7" name="Platshållare för innehåll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19250" y="1671191"/>
            <a:ext cx="6935788" cy="3901380"/>
          </a:xfrm>
        </p:spPr>
      </p:pic>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3</a:t>
            </a:fld>
            <a:endParaRPr lang="en-GB"/>
          </a:p>
        </p:txBody>
      </p:sp>
      <p:sp>
        <p:nvSpPr>
          <p:cNvPr id="6" name="Platshållare för sidfot 5"/>
          <p:cNvSpPr>
            <a:spLocks noGrp="1"/>
          </p:cNvSpPr>
          <p:nvPr>
            <p:ph type="ftr" sz="quarter" idx="11"/>
          </p:nvPr>
        </p:nvSpPr>
        <p:spPr/>
        <p:txBody>
          <a:bodyPr/>
          <a:lstStyle/>
          <a:p>
            <a:r>
              <a:rPr lang="en-GB"/>
              <a:t>KTH IPT Team</a:t>
            </a:r>
          </a:p>
        </p:txBody>
      </p:sp>
      <p:sp>
        <p:nvSpPr>
          <p:cNvPr id="11" name="textruta 10"/>
          <p:cNvSpPr txBox="1"/>
          <p:nvPr/>
        </p:nvSpPr>
        <p:spPr>
          <a:xfrm>
            <a:off x="7478210" y="2453381"/>
            <a:ext cx="960120" cy="400110"/>
          </a:xfrm>
          <a:prstGeom prst="rect">
            <a:avLst/>
          </a:prstGeom>
          <a:solidFill>
            <a:schemeClr val="bg1">
              <a:lumMod val="95000"/>
            </a:schemeClr>
          </a:solidFill>
          <a:ln>
            <a:solidFill>
              <a:schemeClr val="tx1"/>
            </a:solidFill>
          </a:ln>
        </p:spPr>
        <p:txBody>
          <a:bodyPr wrap="square" rtlCol="0">
            <a:spAutoFit/>
          </a:bodyPr>
          <a:lstStyle/>
          <a:p>
            <a:pPr algn="ctr"/>
            <a:r>
              <a:rPr lang="en-GB" sz="2000" dirty="0"/>
              <a:t>Fan</a:t>
            </a:r>
          </a:p>
        </p:txBody>
      </p:sp>
      <p:sp>
        <p:nvSpPr>
          <p:cNvPr id="12" name="textruta 11"/>
          <p:cNvSpPr txBox="1"/>
          <p:nvPr/>
        </p:nvSpPr>
        <p:spPr>
          <a:xfrm>
            <a:off x="5789610" y="1435203"/>
            <a:ext cx="1924102" cy="707886"/>
          </a:xfrm>
          <a:prstGeom prst="rect">
            <a:avLst/>
          </a:prstGeom>
          <a:solidFill>
            <a:schemeClr val="bg1">
              <a:lumMod val="95000"/>
            </a:schemeClr>
          </a:solidFill>
          <a:ln>
            <a:solidFill>
              <a:schemeClr val="tx1"/>
            </a:solidFill>
          </a:ln>
        </p:spPr>
        <p:txBody>
          <a:bodyPr wrap="square" rtlCol="0">
            <a:spAutoFit/>
          </a:bodyPr>
          <a:lstStyle/>
          <a:p>
            <a:pPr algn="ctr"/>
            <a:r>
              <a:rPr lang="en-GB" sz="2000" dirty="0"/>
              <a:t>Tubes to </a:t>
            </a:r>
            <a:r>
              <a:rPr lang="en-GB" sz="2000" dirty="0" err="1"/>
              <a:t>laminarize</a:t>
            </a:r>
            <a:r>
              <a:rPr lang="en-GB" sz="2000" dirty="0"/>
              <a:t> flow</a:t>
            </a:r>
          </a:p>
        </p:txBody>
      </p:sp>
      <p:sp>
        <p:nvSpPr>
          <p:cNvPr id="13" name="textruta 12"/>
          <p:cNvSpPr txBox="1"/>
          <p:nvPr/>
        </p:nvSpPr>
        <p:spPr>
          <a:xfrm>
            <a:off x="1790700" y="1370588"/>
            <a:ext cx="3059242" cy="707886"/>
          </a:xfrm>
          <a:prstGeom prst="rect">
            <a:avLst/>
          </a:prstGeom>
          <a:solidFill>
            <a:schemeClr val="bg1">
              <a:lumMod val="95000"/>
            </a:schemeClr>
          </a:solidFill>
          <a:ln>
            <a:solidFill>
              <a:schemeClr val="tx1"/>
            </a:solidFill>
          </a:ln>
        </p:spPr>
        <p:txBody>
          <a:bodyPr wrap="square" rtlCol="0">
            <a:spAutoFit/>
          </a:bodyPr>
          <a:lstStyle/>
          <a:p>
            <a:pPr algn="ctr"/>
            <a:r>
              <a:rPr lang="en-GB" sz="2000" dirty="0" err="1"/>
              <a:t>Anemo</a:t>
            </a:r>
            <a:r>
              <a:rPr lang="en-GB" sz="2000" dirty="0"/>
              <a:t> (=wind speed) meter, oriented vertically</a:t>
            </a:r>
          </a:p>
        </p:txBody>
      </p:sp>
      <p:sp>
        <p:nvSpPr>
          <p:cNvPr id="14" name="textruta 13"/>
          <p:cNvSpPr txBox="1"/>
          <p:nvPr/>
        </p:nvSpPr>
        <p:spPr>
          <a:xfrm>
            <a:off x="521970" y="4667051"/>
            <a:ext cx="1599380" cy="707886"/>
          </a:xfrm>
          <a:prstGeom prst="rect">
            <a:avLst/>
          </a:prstGeom>
          <a:solidFill>
            <a:schemeClr val="bg1">
              <a:lumMod val="95000"/>
            </a:schemeClr>
          </a:solidFill>
          <a:ln>
            <a:solidFill>
              <a:schemeClr val="tx1"/>
            </a:solidFill>
          </a:ln>
        </p:spPr>
        <p:txBody>
          <a:bodyPr wrap="square" rtlCol="0">
            <a:spAutoFit/>
          </a:bodyPr>
          <a:lstStyle/>
          <a:p>
            <a:pPr algn="ctr"/>
            <a:r>
              <a:rPr lang="en-GB" sz="2000" dirty="0"/>
              <a:t>Position of test person</a:t>
            </a:r>
          </a:p>
        </p:txBody>
      </p:sp>
      <p:cxnSp>
        <p:nvCxnSpPr>
          <p:cNvPr id="18" name="Rak pilkoppling 17"/>
          <p:cNvCxnSpPr>
            <a:stCxn id="13" idx="2"/>
          </p:cNvCxnSpPr>
          <p:nvPr/>
        </p:nvCxnSpPr>
        <p:spPr>
          <a:xfrm flipH="1">
            <a:off x="3208020" y="2078474"/>
            <a:ext cx="112301" cy="574962"/>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Rak pilkoppling 19"/>
          <p:cNvCxnSpPr>
            <a:stCxn id="12" idx="2"/>
          </p:cNvCxnSpPr>
          <p:nvPr/>
        </p:nvCxnSpPr>
        <p:spPr>
          <a:xfrm flipH="1">
            <a:off x="6492240" y="2143089"/>
            <a:ext cx="259421" cy="942192"/>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Rak pilkoppling 21"/>
          <p:cNvCxnSpPr>
            <a:stCxn id="11" idx="2"/>
          </p:cNvCxnSpPr>
          <p:nvPr/>
        </p:nvCxnSpPr>
        <p:spPr>
          <a:xfrm flipH="1">
            <a:off x="7536180" y="2853491"/>
            <a:ext cx="422090" cy="293569"/>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Rektangel 22"/>
          <p:cNvSpPr/>
          <p:nvPr/>
        </p:nvSpPr>
        <p:spPr>
          <a:xfrm rot="20809056">
            <a:off x="2798154" y="4608533"/>
            <a:ext cx="1044333" cy="389641"/>
          </a:xfrm>
          <a:custGeom>
            <a:avLst/>
            <a:gdLst>
              <a:gd name="connsiteX0" fmla="*/ 0 w 883920"/>
              <a:gd name="connsiteY0" fmla="*/ 0 h 502334"/>
              <a:gd name="connsiteX1" fmla="*/ 883920 w 883920"/>
              <a:gd name="connsiteY1" fmla="*/ 0 h 502334"/>
              <a:gd name="connsiteX2" fmla="*/ 883920 w 883920"/>
              <a:gd name="connsiteY2" fmla="*/ 502334 h 502334"/>
              <a:gd name="connsiteX3" fmla="*/ 0 w 883920"/>
              <a:gd name="connsiteY3" fmla="*/ 502334 h 502334"/>
              <a:gd name="connsiteX4" fmla="*/ 0 w 883920"/>
              <a:gd name="connsiteY4" fmla="*/ 0 h 502334"/>
              <a:gd name="connsiteX0" fmla="*/ 0 w 1068797"/>
              <a:gd name="connsiteY0" fmla="*/ 0 h 502334"/>
              <a:gd name="connsiteX1" fmla="*/ 883920 w 1068797"/>
              <a:gd name="connsiteY1" fmla="*/ 0 h 502334"/>
              <a:gd name="connsiteX2" fmla="*/ 1068797 w 1068797"/>
              <a:gd name="connsiteY2" fmla="*/ 381286 h 502334"/>
              <a:gd name="connsiteX3" fmla="*/ 0 w 1068797"/>
              <a:gd name="connsiteY3" fmla="*/ 502334 h 502334"/>
              <a:gd name="connsiteX4" fmla="*/ 0 w 1068797"/>
              <a:gd name="connsiteY4" fmla="*/ 0 h 502334"/>
              <a:gd name="connsiteX0" fmla="*/ 0 w 1068797"/>
              <a:gd name="connsiteY0" fmla="*/ 0 h 456414"/>
              <a:gd name="connsiteX1" fmla="*/ 883920 w 1068797"/>
              <a:gd name="connsiteY1" fmla="*/ 0 h 456414"/>
              <a:gd name="connsiteX2" fmla="*/ 1068797 w 1068797"/>
              <a:gd name="connsiteY2" fmla="*/ 381286 h 456414"/>
              <a:gd name="connsiteX3" fmla="*/ 104670 w 1068797"/>
              <a:gd name="connsiteY3" fmla="*/ 456414 h 456414"/>
              <a:gd name="connsiteX4" fmla="*/ 0 w 1068797"/>
              <a:gd name="connsiteY4" fmla="*/ 0 h 456414"/>
              <a:gd name="connsiteX0" fmla="*/ 0 w 1068797"/>
              <a:gd name="connsiteY0" fmla="*/ 0 h 389641"/>
              <a:gd name="connsiteX1" fmla="*/ 883920 w 1068797"/>
              <a:gd name="connsiteY1" fmla="*/ 0 h 389641"/>
              <a:gd name="connsiteX2" fmla="*/ 1068797 w 1068797"/>
              <a:gd name="connsiteY2" fmla="*/ 381286 h 389641"/>
              <a:gd name="connsiteX3" fmla="*/ 120310 w 1068797"/>
              <a:gd name="connsiteY3" fmla="*/ 389641 h 389641"/>
              <a:gd name="connsiteX4" fmla="*/ 0 w 1068797"/>
              <a:gd name="connsiteY4" fmla="*/ 0 h 389641"/>
              <a:gd name="connsiteX0" fmla="*/ 0 w 1044333"/>
              <a:gd name="connsiteY0" fmla="*/ 0 h 389641"/>
              <a:gd name="connsiteX1" fmla="*/ 883920 w 1044333"/>
              <a:gd name="connsiteY1" fmla="*/ 0 h 389641"/>
              <a:gd name="connsiteX2" fmla="*/ 1044333 w 1044333"/>
              <a:gd name="connsiteY2" fmla="*/ 352077 h 389641"/>
              <a:gd name="connsiteX3" fmla="*/ 120310 w 1044333"/>
              <a:gd name="connsiteY3" fmla="*/ 389641 h 389641"/>
              <a:gd name="connsiteX4" fmla="*/ 0 w 1044333"/>
              <a:gd name="connsiteY4" fmla="*/ 0 h 389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333" h="389641">
                <a:moveTo>
                  <a:pt x="0" y="0"/>
                </a:moveTo>
                <a:lnTo>
                  <a:pt x="883920" y="0"/>
                </a:lnTo>
                <a:lnTo>
                  <a:pt x="1044333" y="352077"/>
                </a:lnTo>
                <a:lnTo>
                  <a:pt x="120310" y="389641"/>
                </a:lnTo>
                <a:lnTo>
                  <a:pt x="0" y="0"/>
                </a:lnTo>
                <a:close/>
              </a:path>
            </a:pathLst>
          </a:cu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cxnSp>
        <p:nvCxnSpPr>
          <p:cNvPr id="24" name="Rak pilkoppling 23"/>
          <p:cNvCxnSpPr>
            <a:stCxn id="14" idx="3"/>
          </p:cNvCxnSpPr>
          <p:nvPr/>
        </p:nvCxnSpPr>
        <p:spPr>
          <a:xfrm flipV="1">
            <a:off x="2121350" y="4945380"/>
            <a:ext cx="728530" cy="75614"/>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3767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Experimental setup</a:t>
            </a:r>
          </a:p>
        </p:txBody>
      </p:sp>
      <p:pic>
        <p:nvPicPr>
          <p:cNvPr id="7" name="Platshållare för innehåll 6"/>
          <p:cNvPicPr>
            <a:picLocks noGrp="1" noChangeAspect="1"/>
          </p:cNvPicPr>
          <p:nvPr>
            <p:ph idx="1"/>
          </p:nvPr>
        </p:nvPicPr>
        <p:blipFill rotWithShape="1">
          <a:blip r:embed="rId2">
            <a:extLst>
              <a:ext uri="{28A0092B-C50C-407E-A947-70E740481C1C}">
                <a14:useLocalDpi xmlns:a14="http://schemas.microsoft.com/office/drawing/2010/main" val="0"/>
              </a:ext>
            </a:extLst>
          </a:blip>
          <a:srcRect l="32379" r="10634"/>
          <a:stretch/>
        </p:blipFill>
        <p:spPr>
          <a:xfrm rot="5400000">
            <a:off x="4213489" y="1061037"/>
            <a:ext cx="3749042" cy="4934056"/>
          </a:xfrm>
        </p:spPr>
      </p:pic>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4</a:t>
            </a:fld>
            <a:endParaRPr lang="en-GB"/>
          </a:p>
        </p:txBody>
      </p:sp>
      <p:sp>
        <p:nvSpPr>
          <p:cNvPr id="6" name="Platshållare för sidfot 5"/>
          <p:cNvSpPr>
            <a:spLocks noGrp="1"/>
          </p:cNvSpPr>
          <p:nvPr>
            <p:ph type="ftr" sz="quarter" idx="11"/>
          </p:nvPr>
        </p:nvSpPr>
        <p:spPr/>
        <p:txBody>
          <a:bodyPr/>
          <a:lstStyle/>
          <a:p>
            <a:r>
              <a:rPr lang="en-GB"/>
              <a:t>KTH IPT Team</a:t>
            </a:r>
          </a:p>
        </p:txBody>
      </p:sp>
      <p:sp>
        <p:nvSpPr>
          <p:cNvPr id="11" name="Rektangel 10"/>
          <p:cNvSpPr/>
          <p:nvPr/>
        </p:nvSpPr>
        <p:spPr>
          <a:xfrm>
            <a:off x="2750397" y="2705100"/>
            <a:ext cx="1741170" cy="11353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cxnSp>
        <p:nvCxnSpPr>
          <p:cNvPr id="9" name="Rak pilkoppling 8"/>
          <p:cNvCxnSpPr/>
          <p:nvPr/>
        </p:nvCxnSpPr>
        <p:spPr>
          <a:xfrm>
            <a:off x="2986617" y="3017520"/>
            <a:ext cx="1333500" cy="0"/>
          </a:xfrm>
          <a:prstGeom prst="straightConnector1">
            <a:avLst/>
          </a:prstGeom>
          <a:ln w="76200">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 name="textruta 9"/>
          <p:cNvSpPr txBox="1"/>
          <p:nvPr/>
        </p:nvSpPr>
        <p:spPr>
          <a:xfrm>
            <a:off x="2913486" y="3228525"/>
            <a:ext cx="1479762" cy="369332"/>
          </a:xfrm>
          <a:prstGeom prst="rect">
            <a:avLst/>
          </a:prstGeom>
          <a:noFill/>
          <a:ln>
            <a:noFill/>
          </a:ln>
        </p:spPr>
        <p:txBody>
          <a:bodyPr wrap="square" rtlCol="0">
            <a:spAutoFit/>
          </a:bodyPr>
          <a:lstStyle/>
          <a:p>
            <a:r>
              <a:rPr lang="en-GB" dirty="0">
                <a:solidFill>
                  <a:srgbClr val="FF0000"/>
                </a:solidFill>
              </a:rPr>
              <a:t>Wind, 2 m/s</a:t>
            </a:r>
          </a:p>
        </p:txBody>
      </p:sp>
      <p:sp>
        <p:nvSpPr>
          <p:cNvPr id="12" name="textruta 11"/>
          <p:cNvSpPr txBox="1"/>
          <p:nvPr/>
        </p:nvSpPr>
        <p:spPr>
          <a:xfrm>
            <a:off x="988854" y="1576667"/>
            <a:ext cx="2278380" cy="646331"/>
          </a:xfrm>
          <a:prstGeom prst="rect">
            <a:avLst/>
          </a:prstGeom>
          <a:noFill/>
        </p:spPr>
        <p:txBody>
          <a:bodyPr wrap="square" rtlCol="0">
            <a:spAutoFit/>
          </a:bodyPr>
          <a:lstStyle/>
          <a:p>
            <a:r>
              <a:rPr lang="en-GB" dirty="0"/>
              <a:t>Qualitative testing to rule out parameters</a:t>
            </a:r>
          </a:p>
        </p:txBody>
      </p:sp>
    </p:spTree>
    <p:extLst>
      <p:ext uri="{BB962C8B-B14F-4D97-AF65-F5344CB8AC3E}">
        <p14:creationId xmlns:p14="http://schemas.microsoft.com/office/powerpoint/2010/main" val="2070853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Hand parameters: Orientation</a:t>
            </a:r>
          </a:p>
        </p:txBody>
      </p:sp>
      <p:sp>
        <p:nvSpPr>
          <p:cNvPr id="3" name="Platshållare för innehåll 2"/>
          <p:cNvSpPr>
            <a:spLocks noGrp="1"/>
          </p:cNvSpPr>
          <p:nvPr>
            <p:ph idx="1"/>
          </p:nvPr>
        </p:nvSpPr>
        <p:spPr/>
        <p:txBody>
          <a:bodyPr/>
          <a:lstStyle/>
          <a:p>
            <a:pPr marL="342900" indent="-342900">
              <a:buFont typeface="Arial" panose="020B0604020202020204" pitchFamily="34" charset="0"/>
              <a:buChar char="•"/>
            </a:pPr>
            <a:r>
              <a:rPr lang="en-GB" dirty="0"/>
              <a:t>C showed most promise in qualitative tests. Arguments:</a:t>
            </a:r>
          </a:p>
          <a:p>
            <a:pPr marL="698500" lvl="1" indent="-342900"/>
            <a:r>
              <a:rPr lang="en-GB" dirty="0"/>
              <a:t>Effect on updraft indicator</a:t>
            </a:r>
          </a:p>
          <a:p>
            <a:pPr marL="698500" lvl="1" indent="-342900"/>
            <a:r>
              <a:rPr lang="en-GB" dirty="0"/>
              <a:t>Freedom of hand movement</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5</a:t>
            </a:fld>
            <a:endParaRPr lang="en-GB"/>
          </a:p>
        </p:txBody>
      </p:sp>
      <p:sp>
        <p:nvSpPr>
          <p:cNvPr id="6" name="Platshållare för sidfot 5"/>
          <p:cNvSpPr>
            <a:spLocks noGrp="1"/>
          </p:cNvSpPr>
          <p:nvPr>
            <p:ph type="ftr" sz="quarter" idx="11"/>
          </p:nvPr>
        </p:nvSpPr>
        <p:spPr/>
        <p:txBody>
          <a:bodyPr/>
          <a:lstStyle/>
          <a:p>
            <a:r>
              <a:rPr lang="en-GB"/>
              <a:t>KTH IPT Team</a:t>
            </a:r>
          </a:p>
        </p:txBody>
      </p:sp>
      <p:sp>
        <p:nvSpPr>
          <p:cNvPr id="9" name="Rektangel: rundade hörn 8"/>
          <p:cNvSpPr/>
          <p:nvPr/>
        </p:nvSpPr>
        <p:spPr>
          <a:xfrm>
            <a:off x="-653669" y="2052485"/>
            <a:ext cx="160988" cy="7112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 name="Rektangel: rundade hörn 9"/>
          <p:cNvSpPr/>
          <p:nvPr/>
        </p:nvSpPr>
        <p:spPr>
          <a:xfrm>
            <a:off x="-460289" y="2052485"/>
            <a:ext cx="172380" cy="7112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 name="Rektangel: rundade hörn 6"/>
          <p:cNvSpPr/>
          <p:nvPr/>
        </p:nvSpPr>
        <p:spPr>
          <a:xfrm>
            <a:off x="-851999" y="2191031"/>
            <a:ext cx="165938"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1" name="Rektangel: rundade hörn 10"/>
          <p:cNvSpPr/>
          <p:nvPr/>
        </p:nvSpPr>
        <p:spPr>
          <a:xfrm>
            <a:off x="-258491" y="2341213"/>
            <a:ext cx="126411" cy="42247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8" name="Frihandsfigur: Form 27"/>
          <p:cNvSpPr/>
          <p:nvPr/>
        </p:nvSpPr>
        <p:spPr>
          <a:xfrm>
            <a:off x="-870788" y="2674970"/>
            <a:ext cx="756643" cy="98069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643" h="980695">
                <a:moveTo>
                  <a:pt x="118099" y="7620"/>
                </a:moveTo>
                <a:lnTo>
                  <a:pt x="653784" y="0"/>
                </a:lnTo>
                <a:cubicBezTo>
                  <a:pt x="719008" y="0"/>
                  <a:pt x="754103" y="108755"/>
                  <a:pt x="754103" y="173979"/>
                </a:cubicBezTo>
                <a:cubicBezTo>
                  <a:pt x="754950" y="269633"/>
                  <a:pt x="755796" y="324647"/>
                  <a:pt x="756643" y="420301"/>
                </a:cubicBezTo>
                <a:cubicBezTo>
                  <a:pt x="756643" y="485525"/>
                  <a:pt x="719008" y="556180"/>
                  <a:pt x="669024" y="627300"/>
                </a:cubicBezTo>
                <a:lnTo>
                  <a:pt x="588496" y="716200"/>
                </a:lnTo>
                <a:lnTo>
                  <a:pt x="588496" y="911925"/>
                </a:lnTo>
                <a:cubicBezTo>
                  <a:pt x="588496" y="947801"/>
                  <a:pt x="559412" y="976885"/>
                  <a:pt x="523536" y="976885"/>
                </a:cubicBezTo>
                <a:lnTo>
                  <a:pt x="193219" y="980695"/>
                </a:lnTo>
                <a:cubicBezTo>
                  <a:pt x="157343" y="980695"/>
                  <a:pt x="135879" y="957326"/>
                  <a:pt x="135879" y="921450"/>
                </a:cubicBezTo>
                <a:lnTo>
                  <a:pt x="118099" y="716200"/>
                </a:lnTo>
                <a:cubicBezTo>
                  <a:pt x="52875" y="716200"/>
                  <a:pt x="0" y="663325"/>
                  <a:pt x="0" y="598101"/>
                </a:cubicBezTo>
                <a:cubicBezTo>
                  <a:pt x="1693" y="416934"/>
                  <a:pt x="5927" y="238306"/>
                  <a:pt x="7620" y="57139"/>
                </a:cubicBezTo>
                <a:cubicBezTo>
                  <a:pt x="7620" y="-8085"/>
                  <a:pt x="52875" y="7620"/>
                  <a:pt x="118099" y="762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9" name="Frihandsfigur: Form 28"/>
          <p:cNvSpPr/>
          <p:nvPr/>
        </p:nvSpPr>
        <p:spPr>
          <a:xfrm>
            <a:off x="-1087908" y="2737755"/>
            <a:ext cx="409378"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2" name="Frihandsfigur: Form 71"/>
          <p:cNvSpPr/>
          <p:nvPr/>
        </p:nvSpPr>
        <p:spPr>
          <a:xfrm flipH="1">
            <a:off x="-2061671" y="4057845"/>
            <a:ext cx="973763" cy="1603180"/>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3" name="Frihandsfigur: Form 72"/>
          <p:cNvSpPr/>
          <p:nvPr/>
        </p:nvSpPr>
        <p:spPr>
          <a:xfrm>
            <a:off x="-1074080" y="4057845"/>
            <a:ext cx="973763" cy="1603180"/>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6" name="Frihandsfigur: Form 75"/>
          <p:cNvSpPr/>
          <p:nvPr/>
        </p:nvSpPr>
        <p:spPr>
          <a:xfrm rot="16200000">
            <a:off x="1643506" y="4087205"/>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7" name="Frihandsfigur: Form 76"/>
          <p:cNvSpPr/>
          <p:nvPr/>
        </p:nvSpPr>
        <p:spPr>
          <a:xfrm rot="5400000" flipH="1">
            <a:off x="1422388" y="3577674"/>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8" name="Frihandsfigur: Form 77"/>
          <p:cNvSpPr/>
          <p:nvPr/>
        </p:nvSpPr>
        <p:spPr>
          <a:xfrm rot="16200000">
            <a:off x="4859368" y="3762120"/>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9" name="Frihandsfigur: Form 78"/>
          <p:cNvSpPr/>
          <p:nvPr/>
        </p:nvSpPr>
        <p:spPr>
          <a:xfrm rot="5400000" flipH="1">
            <a:off x="3773395" y="3763329"/>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80" name="Frihandsfigur: Form 79"/>
          <p:cNvSpPr/>
          <p:nvPr/>
        </p:nvSpPr>
        <p:spPr>
          <a:xfrm>
            <a:off x="7357090" y="3787801"/>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81" name="Frihandsfigur: Form 80"/>
          <p:cNvSpPr/>
          <p:nvPr/>
        </p:nvSpPr>
        <p:spPr>
          <a:xfrm flipH="1">
            <a:off x="6939070" y="3812887"/>
            <a:ext cx="650169" cy="1070423"/>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82" name="Frihandsfigur: Form 81"/>
          <p:cNvSpPr/>
          <p:nvPr/>
        </p:nvSpPr>
        <p:spPr>
          <a:xfrm flipH="1">
            <a:off x="1257055" y="3278270"/>
            <a:ext cx="1071918" cy="236384"/>
          </a:xfrm>
          <a:custGeom>
            <a:avLst/>
            <a:gdLst>
              <a:gd name="connsiteX0" fmla="*/ 2062663 w 2124207"/>
              <a:gd name="connsiteY0" fmla="*/ 0 h 468439"/>
              <a:gd name="connsiteX1" fmla="*/ 1595341 w 2124207"/>
              <a:gd name="connsiteY1" fmla="*/ 178378 h 468439"/>
              <a:gd name="connsiteX2" fmla="*/ 1540112 w 2124207"/>
              <a:gd name="connsiteY2" fmla="*/ 188420 h 468439"/>
              <a:gd name="connsiteX3" fmla="*/ 1523060 w 2124207"/>
              <a:gd name="connsiteY3" fmla="*/ 188680 h 468439"/>
              <a:gd name="connsiteX4" fmla="*/ 1508075 w 2124207"/>
              <a:gd name="connsiteY4" fmla="*/ 194244 h 468439"/>
              <a:gd name="connsiteX5" fmla="*/ 1062104 w 2124207"/>
              <a:gd name="connsiteY5" fmla="*/ 275330 h 468439"/>
              <a:gd name="connsiteX6" fmla="*/ 618206 w 2124207"/>
              <a:gd name="connsiteY6" fmla="*/ 194621 h 468439"/>
              <a:gd name="connsiteX7" fmla="*/ 618158 w 2124207"/>
              <a:gd name="connsiteY7" fmla="*/ 194512 h 468439"/>
              <a:gd name="connsiteX8" fmla="*/ 602454 w 2124207"/>
              <a:gd name="connsiteY8" fmla="*/ 188680 h 468439"/>
              <a:gd name="connsiteX9" fmla="*/ 583976 w 2124207"/>
              <a:gd name="connsiteY9" fmla="*/ 188398 h 468439"/>
              <a:gd name="connsiteX10" fmla="*/ 531361 w 2124207"/>
              <a:gd name="connsiteY10" fmla="*/ 178831 h 468439"/>
              <a:gd name="connsiteX11" fmla="*/ 62851 w 2124207"/>
              <a:gd name="connsiteY11" fmla="*/ 0 h 468439"/>
              <a:gd name="connsiteX12" fmla="*/ 1307 w 2124207"/>
              <a:gd name="connsiteY12" fmla="*/ 45816 h 468439"/>
              <a:gd name="connsiteX13" fmla="*/ 1307 w 2124207"/>
              <a:gd name="connsiteY13" fmla="*/ 82458 h 468439"/>
              <a:gd name="connsiteX14" fmla="*/ 0 w 2124207"/>
              <a:gd name="connsiteY14" fmla="*/ 82220 h 468439"/>
              <a:gd name="connsiteX15" fmla="*/ 0 w 2124207"/>
              <a:gd name="connsiteY15" fmla="*/ 275330 h 468439"/>
              <a:gd name="connsiteX16" fmla="*/ 1062104 w 2124207"/>
              <a:gd name="connsiteY16" fmla="*/ 468439 h 468439"/>
              <a:gd name="connsiteX17" fmla="*/ 2124207 w 2124207"/>
              <a:gd name="connsiteY17" fmla="*/ 275330 h 468439"/>
              <a:gd name="connsiteX18" fmla="*/ 2124207 w 2124207"/>
              <a:gd name="connsiteY18" fmla="*/ 229076 h 468439"/>
              <a:gd name="connsiteX19" fmla="*/ 2124207 w 2124207"/>
              <a:gd name="connsiteY19" fmla="*/ 82220 h 468439"/>
              <a:gd name="connsiteX20" fmla="*/ 2124207 w 2124207"/>
              <a:gd name="connsiteY20" fmla="*/ 45816 h 468439"/>
              <a:gd name="connsiteX21" fmla="*/ 2062663 w 2124207"/>
              <a:gd name="connsiteY21" fmla="*/ 0 h 46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207" h="468439">
                <a:moveTo>
                  <a:pt x="2062663" y="0"/>
                </a:moveTo>
                <a:lnTo>
                  <a:pt x="1595341" y="178378"/>
                </a:lnTo>
                <a:lnTo>
                  <a:pt x="1540112" y="188420"/>
                </a:lnTo>
                <a:lnTo>
                  <a:pt x="1523060" y="188680"/>
                </a:lnTo>
                <a:lnTo>
                  <a:pt x="1508075" y="194244"/>
                </a:lnTo>
                <a:lnTo>
                  <a:pt x="1062104" y="275330"/>
                </a:lnTo>
                <a:lnTo>
                  <a:pt x="618206" y="194621"/>
                </a:lnTo>
                <a:lnTo>
                  <a:pt x="618158" y="194512"/>
                </a:lnTo>
                <a:cubicBezTo>
                  <a:pt x="614358" y="191411"/>
                  <a:pt x="608937" y="189650"/>
                  <a:pt x="602454" y="188680"/>
                </a:cubicBezTo>
                <a:lnTo>
                  <a:pt x="583976" y="188398"/>
                </a:lnTo>
                <a:lnTo>
                  <a:pt x="531361" y="178831"/>
                </a:lnTo>
                <a:lnTo>
                  <a:pt x="62851" y="0"/>
                </a:lnTo>
                <a:cubicBezTo>
                  <a:pt x="28862" y="0"/>
                  <a:pt x="1307" y="20513"/>
                  <a:pt x="1307" y="45816"/>
                </a:cubicBezTo>
                <a:lnTo>
                  <a:pt x="1307" y="82458"/>
                </a:lnTo>
                <a:lnTo>
                  <a:pt x="0" y="82220"/>
                </a:lnTo>
                <a:lnTo>
                  <a:pt x="0" y="275330"/>
                </a:lnTo>
                <a:lnTo>
                  <a:pt x="1062104" y="468439"/>
                </a:lnTo>
                <a:lnTo>
                  <a:pt x="2124207" y="275330"/>
                </a:lnTo>
                <a:lnTo>
                  <a:pt x="2124207" y="229076"/>
                </a:lnTo>
                <a:lnTo>
                  <a:pt x="2124207" y="82220"/>
                </a:lnTo>
                <a:lnTo>
                  <a:pt x="2124207" y="45816"/>
                </a:lnTo>
                <a:cubicBezTo>
                  <a:pt x="2124207" y="20513"/>
                  <a:pt x="2096652" y="0"/>
                  <a:pt x="2062663" y="0"/>
                </a:cubicBezTo>
                <a:close/>
              </a:path>
            </a:pathLst>
          </a:cu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solidFill>
                <a:schemeClr val="tx1"/>
              </a:solidFill>
            </a:endParaRPr>
          </a:p>
        </p:txBody>
      </p:sp>
      <p:sp>
        <p:nvSpPr>
          <p:cNvPr id="83" name="Frihandsfigur: Form 82"/>
          <p:cNvSpPr/>
          <p:nvPr/>
        </p:nvSpPr>
        <p:spPr>
          <a:xfrm flipH="1">
            <a:off x="4098479" y="3462715"/>
            <a:ext cx="1071918" cy="236384"/>
          </a:xfrm>
          <a:custGeom>
            <a:avLst/>
            <a:gdLst>
              <a:gd name="connsiteX0" fmla="*/ 2062663 w 2124207"/>
              <a:gd name="connsiteY0" fmla="*/ 0 h 468439"/>
              <a:gd name="connsiteX1" fmla="*/ 1595341 w 2124207"/>
              <a:gd name="connsiteY1" fmla="*/ 178378 h 468439"/>
              <a:gd name="connsiteX2" fmla="*/ 1540112 w 2124207"/>
              <a:gd name="connsiteY2" fmla="*/ 188420 h 468439"/>
              <a:gd name="connsiteX3" fmla="*/ 1523060 w 2124207"/>
              <a:gd name="connsiteY3" fmla="*/ 188680 h 468439"/>
              <a:gd name="connsiteX4" fmla="*/ 1508075 w 2124207"/>
              <a:gd name="connsiteY4" fmla="*/ 194244 h 468439"/>
              <a:gd name="connsiteX5" fmla="*/ 1062104 w 2124207"/>
              <a:gd name="connsiteY5" fmla="*/ 275330 h 468439"/>
              <a:gd name="connsiteX6" fmla="*/ 618206 w 2124207"/>
              <a:gd name="connsiteY6" fmla="*/ 194621 h 468439"/>
              <a:gd name="connsiteX7" fmla="*/ 618158 w 2124207"/>
              <a:gd name="connsiteY7" fmla="*/ 194512 h 468439"/>
              <a:gd name="connsiteX8" fmla="*/ 602454 w 2124207"/>
              <a:gd name="connsiteY8" fmla="*/ 188680 h 468439"/>
              <a:gd name="connsiteX9" fmla="*/ 583976 w 2124207"/>
              <a:gd name="connsiteY9" fmla="*/ 188398 h 468439"/>
              <a:gd name="connsiteX10" fmla="*/ 531361 w 2124207"/>
              <a:gd name="connsiteY10" fmla="*/ 178831 h 468439"/>
              <a:gd name="connsiteX11" fmla="*/ 62851 w 2124207"/>
              <a:gd name="connsiteY11" fmla="*/ 0 h 468439"/>
              <a:gd name="connsiteX12" fmla="*/ 1307 w 2124207"/>
              <a:gd name="connsiteY12" fmla="*/ 45816 h 468439"/>
              <a:gd name="connsiteX13" fmla="*/ 1307 w 2124207"/>
              <a:gd name="connsiteY13" fmla="*/ 82458 h 468439"/>
              <a:gd name="connsiteX14" fmla="*/ 0 w 2124207"/>
              <a:gd name="connsiteY14" fmla="*/ 82220 h 468439"/>
              <a:gd name="connsiteX15" fmla="*/ 0 w 2124207"/>
              <a:gd name="connsiteY15" fmla="*/ 275330 h 468439"/>
              <a:gd name="connsiteX16" fmla="*/ 1062104 w 2124207"/>
              <a:gd name="connsiteY16" fmla="*/ 468439 h 468439"/>
              <a:gd name="connsiteX17" fmla="*/ 2124207 w 2124207"/>
              <a:gd name="connsiteY17" fmla="*/ 275330 h 468439"/>
              <a:gd name="connsiteX18" fmla="*/ 2124207 w 2124207"/>
              <a:gd name="connsiteY18" fmla="*/ 229076 h 468439"/>
              <a:gd name="connsiteX19" fmla="*/ 2124207 w 2124207"/>
              <a:gd name="connsiteY19" fmla="*/ 82220 h 468439"/>
              <a:gd name="connsiteX20" fmla="*/ 2124207 w 2124207"/>
              <a:gd name="connsiteY20" fmla="*/ 45816 h 468439"/>
              <a:gd name="connsiteX21" fmla="*/ 2062663 w 2124207"/>
              <a:gd name="connsiteY21" fmla="*/ 0 h 46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207" h="468439">
                <a:moveTo>
                  <a:pt x="2062663" y="0"/>
                </a:moveTo>
                <a:lnTo>
                  <a:pt x="1595341" y="178378"/>
                </a:lnTo>
                <a:lnTo>
                  <a:pt x="1540112" y="188420"/>
                </a:lnTo>
                <a:lnTo>
                  <a:pt x="1523060" y="188680"/>
                </a:lnTo>
                <a:lnTo>
                  <a:pt x="1508075" y="194244"/>
                </a:lnTo>
                <a:lnTo>
                  <a:pt x="1062104" y="275330"/>
                </a:lnTo>
                <a:lnTo>
                  <a:pt x="618206" y="194621"/>
                </a:lnTo>
                <a:lnTo>
                  <a:pt x="618158" y="194512"/>
                </a:lnTo>
                <a:cubicBezTo>
                  <a:pt x="614358" y="191411"/>
                  <a:pt x="608937" y="189650"/>
                  <a:pt x="602454" y="188680"/>
                </a:cubicBezTo>
                <a:lnTo>
                  <a:pt x="583976" y="188398"/>
                </a:lnTo>
                <a:lnTo>
                  <a:pt x="531361" y="178831"/>
                </a:lnTo>
                <a:lnTo>
                  <a:pt x="62851" y="0"/>
                </a:lnTo>
                <a:cubicBezTo>
                  <a:pt x="28862" y="0"/>
                  <a:pt x="1307" y="20513"/>
                  <a:pt x="1307" y="45816"/>
                </a:cubicBezTo>
                <a:lnTo>
                  <a:pt x="1307" y="82458"/>
                </a:lnTo>
                <a:lnTo>
                  <a:pt x="0" y="82220"/>
                </a:lnTo>
                <a:lnTo>
                  <a:pt x="0" y="275330"/>
                </a:lnTo>
                <a:lnTo>
                  <a:pt x="1062104" y="468439"/>
                </a:lnTo>
                <a:lnTo>
                  <a:pt x="2124207" y="275330"/>
                </a:lnTo>
                <a:lnTo>
                  <a:pt x="2124207" y="229076"/>
                </a:lnTo>
                <a:lnTo>
                  <a:pt x="2124207" y="82220"/>
                </a:lnTo>
                <a:lnTo>
                  <a:pt x="2124207" y="45816"/>
                </a:lnTo>
                <a:cubicBezTo>
                  <a:pt x="2124207" y="20513"/>
                  <a:pt x="2096652" y="0"/>
                  <a:pt x="2062663" y="0"/>
                </a:cubicBezTo>
                <a:close/>
              </a:path>
            </a:pathLst>
          </a:cu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solidFill>
                <a:schemeClr val="tx1"/>
              </a:solidFill>
            </a:endParaRPr>
          </a:p>
        </p:txBody>
      </p:sp>
      <p:sp>
        <p:nvSpPr>
          <p:cNvPr id="84" name="Frihandsfigur: Form 83"/>
          <p:cNvSpPr/>
          <p:nvPr/>
        </p:nvSpPr>
        <p:spPr>
          <a:xfrm flipH="1">
            <a:off x="6939070" y="3344523"/>
            <a:ext cx="1071918" cy="236384"/>
          </a:xfrm>
          <a:custGeom>
            <a:avLst/>
            <a:gdLst>
              <a:gd name="connsiteX0" fmla="*/ 2062663 w 2124207"/>
              <a:gd name="connsiteY0" fmla="*/ 0 h 468439"/>
              <a:gd name="connsiteX1" fmla="*/ 1595341 w 2124207"/>
              <a:gd name="connsiteY1" fmla="*/ 178378 h 468439"/>
              <a:gd name="connsiteX2" fmla="*/ 1540112 w 2124207"/>
              <a:gd name="connsiteY2" fmla="*/ 188420 h 468439"/>
              <a:gd name="connsiteX3" fmla="*/ 1523060 w 2124207"/>
              <a:gd name="connsiteY3" fmla="*/ 188680 h 468439"/>
              <a:gd name="connsiteX4" fmla="*/ 1508075 w 2124207"/>
              <a:gd name="connsiteY4" fmla="*/ 194244 h 468439"/>
              <a:gd name="connsiteX5" fmla="*/ 1062104 w 2124207"/>
              <a:gd name="connsiteY5" fmla="*/ 275330 h 468439"/>
              <a:gd name="connsiteX6" fmla="*/ 618206 w 2124207"/>
              <a:gd name="connsiteY6" fmla="*/ 194621 h 468439"/>
              <a:gd name="connsiteX7" fmla="*/ 618158 w 2124207"/>
              <a:gd name="connsiteY7" fmla="*/ 194512 h 468439"/>
              <a:gd name="connsiteX8" fmla="*/ 602454 w 2124207"/>
              <a:gd name="connsiteY8" fmla="*/ 188680 h 468439"/>
              <a:gd name="connsiteX9" fmla="*/ 583976 w 2124207"/>
              <a:gd name="connsiteY9" fmla="*/ 188398 h 468439"/>
              <a:gd name="connsiteX10" fmla="*/ 531361 w 2124207"/>
              <a:gd name="connsiteY10" fmla="*/ 178831 h 468439"/>
              <a:gd name="connsiteX11" fmla="*/ 62851 w 2124207"/>
              <a:gd name="connsiteY11" fmla="*/ 0 h 468439"/>
              <a:gd name="connsiteX12" fmla="*/ 1307 w 2124207"/>
              <a:gd name="connsiteY12" fmla="*/ 45816 h 468439"/>
              <a:gd name="connsiteX13" fmla="*/ 1307 w 2124207"/>
              <a:gd name="connsiteY13" fmla="*/ 82458 h 468439"/>
              <a:gd name="connsiteX14" fmla="*/ 0 w 2124207"/>
              <a:gd name="connsiteY14" fmla="*/ 82220 h 468439"/>
              <a:gd name="connsiteX15" fmla="*/ 0 w 2124207"/>
              <a:gd name="connsiteY15" fmla="*/ 275330 h 468439"/>
              <a:gd name="connsiteX16" fmla="*/ 1062104 w 2124207"/>
              <a:gd name="connsiteY16" fmla="*/ 468439 h 468439"/>
              <a:gd name="connsiteX17" fmla="*/ 2124207 w 2124207"/>
              <a:gd name="connsiteY17" fmla="*/ 275330 h 468439"/>
              <a:gd name="connsiteX18" fmla="*/ 2124207 w 2124207"/>
              <a:gd name="connsiteY18" fmla="*/ 229076 h 468439"/>
              <a:gd name="connsiteX19" fmla="*/ 2124207 w 2124207"/>
              <a:gd name="connsiteY19" fmla="*/ 82220 h 468439"/>
              <a:gd name="connsiteX20" fmla="*/ 2124207 w 2124207"/>
              <a:gd name="connsiteY20" fmla="*/ 45816 h 468439"/>
              <a:gd name="connsiteX21" fmla="*/ 2062663 w 2124207"/>
              <a:gd name="connsiteY21" fmla="*/ 0 h 46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207" h="468439">
                <a:moveTo>
                  <a:pt x="2062663" y="0"/>
                </a:moveTo>
                <a:lnTo>
                  <a:pt x="1595341" y="178378"/>
                </a:lnTo>
                <a:lnTo>
                  <a:pt x="1540112" y="188420"/>
                </a:lnTo>
                <a:lnTo>
                  <a:pt x="1523060" y="188680"/>
                </a:lnTo>
                <a:lnTo>
                  <a:pt x="1508075" y="194244"/>
                </a:lnTo>
                <a:lnTo>
                  <a:pt x="1062104" y="275330"/>
                </a:lnTo>
                <a:lnTo>
                  <a:pt x="618206" y="194621"/>
                </a:lnTo>
                <a:lnTo>
                  <a:pt x="618158" y="194512"/>
                </a:lnTo>
                <a:cubicBezTo>
                  <a:pt x="614358" y="191411"/>
                  <a:pt x="608937" y="189650"/>
                  <a:pt x="602454" y="188680"/>
                </a:cubicBezTo>
                <a:lnTo>
                  <a:pt x="583976" y="188398"/>
                </a:lnTo>
                <a:lnTo>
                  <a:pt x="531361" y="178831"/>
                </a:lnTo>
                <a:lnTo>
                  <a:pt x="62851" y="0"/>
                </a:lnTo>
                <a:cubicBezTo>
                  <a:pt x="28862" y="0"/>
                  <a:pt x="1307" y="20513"/>
                  <a:pt x="1307" y="45816"/>
                </a:cubicBezTo>
                <a:lnTo>
                  <a:pt x="1307" y="82458"/>
                </a:lnTo>
                <a:lnTo>
                  <a:pt x="0" y="82220"/>
                </a:lnTo>
                <a:lnTo>
                  <a:pt x="0" y="275330"/>
                </a:lnTo>
                <a:lnTo>
                  <a:pt x="1062104" y="468439"/>
                </a:lnTo>
                <a:lnTo>
                  <a:pt x="2124207" y="275330"/>
                </a:lnTo>
                <a:lnTo>
                  <a:pt x="2124207" y="229076"/>
                </a:lnTo>
                <a:lnTo>
                  <a:pt x="2124207" y="82220"/>
                </a:lnTo>
                <a:lnTo>
                  <a:pt x="2124207" y="45816"/>
                </a:lnTo>
                <a:cubicBezTo>
                  <a:pt x="2124207" y="20513"/>
                  <a:pt x="2096652" y="0"/>
                  <a:pt x="2062663" y="0"/>
                </a:cubicBezTo>
                <a:close/>
              </a:path>
            </a:pathLst>
          </a:cu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err="1">
              <a:solidFill>
                <a:schemeClr val="tx1"/>
              </a:solidFill>
            </a:endParaRPr>
          </a:p>
        </p:txBody>
      </p:sp>
      <p:sp>
        <p:nvSpPr>
          <p:cNvPr id="85" name="textruta 84"/>
          <p:cNvSpPr txBox="1"/>
          <p:nvPr/>
        </p:nvSpPr>
        <p:spPr>
          <a:xfrm>
            <a:off x="3700570" y="5306691"/>
            <a:ext cx="3278872" cy="369332"/>
          </a:xfrm>
          <a:prstGeom prst="rect">
            <a:avLst/>
          </a:prstGeom>
          <a:noFill/>
        </p:spPr>
        <p:txBody>
          <a:bodyPr wrap="square" rtlCol="0">
            <a:spAutoFit/>
          </a:bodyPr>
          <a:lstStyle/>
          <a:p>
            <a:r>
              <a:rPr lang="en-GB" dirty="0"/>
              <a:t>View from behind</a:t>
            </a:r>
          </a:p>
        </p:txBody>
      </p:sp>
      <p:sp>
        <p:nvSpPr>
          <p:cNvPr id="8" name="Rektangel 7"/>
          <p:cNvSpPr/>
          <p:nvPr/>
        </p:nvSpPr>
        <p:spPr>
          <a:xfrm>
            <a:off x="6557709" y="2829602"/>
            <a:ext cx="1790700" cy="266175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7" name="textruta 26"/>
          <p:cNvSpPr txBox="1"/>
          <p:nvPr/>
        </p:nvSpPr>
        <p:spPr>
          <a:xfrm>
            <a:off x="1698266" y="5202745"/>
            <a:ext cx="685051" cy="369332"/>
          </a:xfrm>
          <a:prstGeom prst="rect">
            <a:avLst/>
          </a:prstGeom>
          <a:noFill/>
        </p:spPr>
        <p:txBody>
          <a:bodyPr wrap="square" rtlCol="0">
            <a:spAutoFit/>
          </a:bodyPr>
          <a:lstStyle/>
          <a:p>
            <a:r>
              <a:rPr lang="en-GB" dirty="0"/>
              <a:t>A</a:t>
            </a:r>
          </a:p>
        </p:txBody>
      </p:sp>
      <p:sp>
        <p:nvSpPr>
          <p:cNvPr id="30" name="textruta 29"/>
          <p:cNvSpPr txBox="1"/>
          <p:nvPr/>
        </p:nvSpPr>
        <p:spPr>
          <a:xfrm>
            <a:off x="4514850" y="4861131"/>
            <a:ext cx="685051" cy="369332"/>
          </a:xfrm>
          <a:prstGeom prst="rect">
            <a:avLst/>
          </a:prstGeom>
          <a:noFill/>
        </p:spPr>
        <p:txBody>
          <a:bodyPr wrap="square" rtlCol="0">
            <a:spAutoFit/>
          </a:bodyPr>
          <a:lstStyle/>
          <a:p>
            <a:r>
              <a:rPr lang="en-GB" dirty="0"/>
              <a:t>B</a:t>
            </a:r>
          </a:p>
        </p:txBody>
      </p:sp>
      <p:sp>
        <p:nvSpPr>
          <p:cNvPr id="31" name="textruta 30"/>
          <p:cNvSpPr txBox="1"/>
          <p:nvPr/>
        </p:nvSpPr>
        <p:spPr>
          <a:xfrm>
            <a:off x="7321400" y="5090248"/>
            <a:ext cx="685051" cy="369332"/>
          </a:xfrm>
          <a:prstGeom prst="rect">
            <a:avLst/>
          </a:prstGeom>
          <a:noFill/>
        </p:spPr>
        <p:txBody>
          <a:bodyPr wrap="square" rtlCol="0">
            <a:spAutoFit/>
          </a:bodyPr>
          <a:lstStyle/>
          <a:p>
            <a:r>
              <a:rPr lang="en-GB" dirty="0"/>
              <a:t>C</a:t>
            </a:r>
          </a:p>
        </p:txBody>
      </p:sp>
    </p:spTree>
    <p:extLst>
      <p:ext uri="{BB962C8B-B14F-4D97-AF65-F5344CB8AC3E}">
        <p14:creationId xmlns:p14="http://schemas.microsoft.com/office/powerpoint/2010/main" val="3711491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Hand parameters: Spread of fingers</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6</a:t>
            </a:fld>
            <a:endParaRPr lang="en-GB"/>
          </a:p>
        </p:txBody>
      </p:sp>
      <p:sp>
        <p:nvSpPr>
          <p:cNvPr id="6" name="Platshållare för sidfot 5"/>
          <p:cNvSpPr>
            <a:spLocks noGrp="1"/>
          </p:cNvSpPr>
          <p:nvPr>
            <p:ph type="ftr" sz="quarter" idx="11"/>
          </p:nvPr>
        </p:nvSpPr>
        <p:spPr/>
        <p:txBody>
          <a:bodyPr/>
          <a:lstStyle/>
          <a:p>
            <a:r>
              <a:rPr lang="en-GB"/>
              <a:t>KTH IPT Team</a:t>
            </a:r>
          </a:p>
        </p:txBody>
      </p:sp>
      <p:sp>
        <p:nvSpPr>
          <p:cNvPr id="32" name="Frihandsfigur: Form 31"/>
          <p:cNvSpPr/>
          <p:nvPr/>
        </p:nvSpPr>
        <p:spPr>
          <a:xfrm>
            <a:off x="6661318" y="1515782"/>
            <a:ext cx="1170433" cy="1603180"/>
          </a:xfrm>
          <a:custGeom>
            <a:avLst/>
            <a:gdLst>
              <a:gd name="connsiteX0" fmla="*/ 461071 w 1170433"/>
              <a:gd name="connsiteY0" fmla="*/ 0 h 1603180"/>
              <a:gd name="connsiteX1" fmla="*/ 568395 w 1170433"/>
              <a:gd name="connsiteY1" fmla="*/ 0 h 1603180"/>
              <a:gd name="connsiteX2" fmla="*/ 595227 w 1170433"/>
              <a:gd name="connsiteY2" fmla="*/ 26832 h 1603180"/>
              <a:gd name="connsiteX3" fmla="*/ 595227 w 1170433"/>
              <a:gd name="connsiteY3" fmla="*/ 626406 h 1603180"/>
              <a:gd name="connsiteX4" fmla="*/ 673622 w 1170433"/>
              <a:gd name="connsiteY4" fmla="*/ 625291 h 1603180"/>
              <a:gd name="connsiteX5" fmla="*/ 764060 w 1170433"/>
              <a:gd name="connsiteY5" fmla="*/ 62898 h 1603180"/>
              <a:gd name="connsiteX6" fmla="*/ 796988 w 1170433"/>
              <a:gd name="connsiteY6" fmla="*/ 39093 h 1603180"/>
              <a:gd name="connsiteX7" fmla="*/ 910448 w 1170433"/>
              <a:gd name="connsiteY7" fmla="*/ 57338 h 1603180"/>
              <a:gd name="connsiteX8" fmla="*/ 934253 w 1170433"/>
              <a:gd name="connsiteY8" fmla="*/ 90266 h 1603180"/>
              <a:gd name="connsiteX9" fmla="*/ 848617 w 1170433"/>
              <a:gd name="connsiteY9" fmla="*/ 622802 h 1603180"/>
              <a:gd name="connsiteX10" fmla="*/ 870904 w 1170433"/>
              <a:gd name="connsiteY10" fmla="*/ 622485 h 1603180"/>
              <a:gd name="connsiteX11" fmla="*/ 900593 w 1170433"/>
              <a:gd name="connsiteY11" fmla="*/ 634866 h 1603180"/>
              <a:gd name="connsiteX12" fmla="*/ 1053923 w 1170433"/>
              <a:gd name="connsiteY12" fmla="*/ 306749 h 1603180"/>
              <a:gd name="connsiteX13" fmla="*/ 1065821 w 1170433"/>
              <a:gd name="connsiteY13" fmla="*/ 295864 h 1603180"/>
              <a:gd name="connsiteX14" fmla="*/ 1081931 w 1170433"/>
              <a:gd name="connsiteY14" fmla="*/ 296581 h 1603180"/>
              <a:gd name="connsiteX15" fmla="*/ 1158279 w 1170433"/>
              <a:gd name="connsiteY15" fmla="*/ 332259 h 1603180"/>
              <a:gd name="connsiteX16" fmla="*/ 1168447 w 1170433"/>
              <a:gd name="connsiteY16" fmla="*/ 360266 h 1603180"/>
              <a:gd name="connsiteX17" fmla="*/ 982158 w 1170433"/>
              <a:gd name="connsiteY17" fmla="*/ 758912 h 1603180"/>
              <a:gd name="connsiteX18" fmla="*/ 970260 w 1170433"/>
              <a:gd name="connsiteY18" fmla="*/ 769797 h 1603180"/>
              <a:gd name="connsiteX19" fmla="*/ 968041 w 1170433"/>
              <a:gd name="connsiteY19" fmla="*/ 769698 h 1603180"/>
              <a:gd name="connsiteX20" fmla="*/ 971223 w 1170433"/>
              <a:gd name="connsiteY20" fmla="*/ 796464 h 1603180"/>
              <a:gd name="connsiteX21" fmla="*/ 973763 w 1170433"/>
              <a:gd name="connsiteY21" fmla="*/ 1042786 h 1603180"/>
              <a:gd name="connsiteX22" fmla="*/ 886144 w 1170433"/>
              <a:gd name="connsiteY22" fmla="*/ 1249785 h 1603180"/>
              <a:gd name="connsiteX23" fmla="*/ 805616 w 1170433"/>
              <a:gd name="connsiteY23" fmla="*/ 1338685 h 1603180"/>
              <a:gd name="connsiteX24" fmla="*/ 805616 w 1170433"/>
              <a:gd name="connsiteY24" fmla="*/ 1534410 h 1603180"/>
              <a:gd name="connsiteX25" fmla="*/ 740656 w 1170433"/>
              <a:gd name="connsiteY25" fmla="*/ 1599370 h 1603180"/>
              <a:gd name="connsiteX26" fmla="*/ 410339 w 1170433"/>
              <a:gd name="connsiteY26" fmla="*/ 1603180 h 1603180"/>
              <a:gd name="connsiteX27" fmla="*/ 352999 w 1170433"/>
              <a:gd name="connsiteY27" fmla="*/ 1543935 h 1603180"/>
              <a:gd name="connsiteX28" fmla="*/ 335564 w 1170433"/>
              <a:gd name="connsiteY28" fmla="*/ 1342670 h 1603180"/>
              <a:gd name="connsiteX29" fmla="*/ 319674 w 1170433"/>
              <a:gd name="connsiteY29" fmla="*/ 1347018 h 1603180"/>
              <a:gd name="connsiteX30" fmla="*/ 249089 w 1170433"/>
              <a:gd name="connsiteY30" fmla="*/ 1343844 h 1603180"/>
              <a:gd name="connsiteX31" fmla="*/ 135563 w 1170433"/>
              <a:gd name="connsiteY31" fmla="*/ 1220019 h 1603180"/>
              <a:gd name="connsiteX32" fmla="*/ 635 w 1170433"/>
              <a:gd name="connsiteY32" fmla="*/ 1064098 h 1603180"/>
              <a:gd name="connsiteX33" fmla="*/ 0 w 1170433"/>
              <a:gd name="connsiteY33" fmla="*/ 720541 h 1603180"/>
              <a:gd name="connsiteX34" fmla="*/ 30788 w 1170433"/>
              <a:gd name="connsiteY34" fmla="*/ 685270 h 1603180"/>
              <a:gd name="connsiteX35" fmla="*/ 153939 w 1170433"/>
              <a:gd name="connsiteY35" fmla="*/ 685270 h 1603180"/>
              <a:gd name="connsiteX36" fmla="*/ 184727 w 1170433"/>
              <a:gd name="connsiteY36" fmla="*/ 720541 h 1603180"/>
              <a:gd name="connsiteX37" fmla="*/ 184727 w 1170433"/>
              <a:gd name="connsiteY37" fmla="*/ 1023012 h 1603180"/>
              <a:gd name="connsiteX38" fmla="*/ 219903 w 1170433"/>
              <a:gd name="connsiteY38" fmla="*/ 1023012 h 1603180"/>
              <a:gd name="connsiteX39" fmla="*/ 224736 w 1170433"/>
              <a:gd name="connsiteY39" fmla="*/ 679931 h 1603180"/>
              <a:gd name="connsiteX40" fmla="*/ 217600 w 1170433"/>
              <a:gd name="connsiteY40" fmla="*/ 670642 h 1603180"/>
              <a:gd name="connsiteX41" fmla="*/ 83412 w 1170433"/>
              <a:gd name="connsiteY41" fmla="*/ 171008 h 1603180"/>
              <a:gd name="connsiteX42" fmla="*/ 102948 w 1170433"/>
              <a:gd name="connsiteY42" fmla="*/ 137124 h 1603180"/>
              <a:gd name="connsiteX43" fmla="*/ 209786 w 1170433"/>
              <a:gd name="connsiteY43" fmla="*/ 108431 h 1603180"/>
              <a:gd name="connsiteX44" fmla="*/ 243670 w 1170433"/>
              <a:gd name="connsiteY44" fmla="*/ 127967 h 1603180"/>
              <a:gd name="connsiteX45" fmla="*/ 377859 w 1170433"/>
              <a:gd name="connsiteY45" fmla="*/ 627601 h 1603180"/>
              <a:gd name="connsiteX46" fmla="*/ 377609 w 1170433"/>
              <a:gd name="connsiteY46" fmla="*/ 629502 h 1603180"/>
              <a:gd name="connsiteX47" fmla="*/ 434239 w 1170433"/>
              <a:gd name="connsiteY47" fmla="*/ 628696 h 1603180"/>
              <a:gd name="connsiteX48" fmla="*/ 434239 w 1170433"/>
              <a:gd name="connsiteY48" fmla="*/ 26832 h 1603180"/>
              <a:gd name="connsiteX49" fmla="*/ 461071 w 1170433"/>
              <a:gd name="connsiteY49"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170433" h="1603180">
                <a:moveTo>
                  <a:pt x="461071" y="0"/>
                </a:moveTo>
                <a:lnTo>
                  <a:pt x="568395" y="0"/>
                </a:lnTo>
                <a:cubicBezTo>
                  <a:pt x="583214" y="0"/>
                  <a:pt x="595227" y="12013"/>
                  <a:pt x="595227" y="26832"/>
                </a:cubicBezTo>
                <a:lnTo>
                  <a:pt x="595227" y="626406"/>
                </a:lnTo>
                <a:lnTo>
                  <a:pt x="673622" y="625291"/>
                </a:lnTo>
                <a:lnTo>
                  <a:pt x="764060" y="62898"/>
                </a:lnTo>
                <a:cubicBezTo>
                  <a:pt x="766579" y="47231"/>
                  <a:pt x="781321" y="36573"/>
                  <a:pt x="796988" y="39093"/>
                </a:cubicBezTo>
                <a:lnTo>
                  <a:pt x="910448" y="57338"/>
                </a:lnTo>
                <a:cubicBezTo>
                  <a:pt x="926115" y="59857"/>
                  <a:pt x="936773" y="74599"/>
                  <a:pt x="934253" y="90266"/>
                </a:cubicBezTo>
                <a:lnTo>
                  <a:pt x="848617" y="622802"/>
                </a:lnTo>
                <a:lnTo>
                  <a:pt x="870904" y="622485"/>
                </a:lnTo>
                <a:lnTo>
                  <a:pt x="900593" y="634866"/>
                </a:lnTo>
                <a:lnTo>
                  <a:pt x="1053923" y="306749"/>
                </a:lnTo>
                <a:cubicBezTo>
                  <a:pt x="1056386" y="301478"/>
                  <a:pt x="1060753" y="297704"/>
                  <a:pt x="1065821" y="295864"/>
                </a:cubicBezTo>
                <a:cubicBezTo>
                  <a:pt x="1070889" y="294024"/>
                  <a:pt x="1076660" y="294118"/>
                  <a:pt x="1081931" y="296581"/>
                </a:cubicBezTo>
                <a:lnTo>
                  <a:pt x="1158279" y="332259"/>
                </a:lnTo>
                <a:cubicBezTo>
                  <a:pt x="1168820" y="337185"/>
                  <a:pt x="1173373" y="349724"/>
                  <a:pt x="1168447" y="360266"/>
                </a:cubicBezTo>
                <a:lnTo>
                  <a:pt x="982158" y="758912"/>
                </a:lnTo>
                <a:cubicBezTo>
                  <a:pt x="979695" y="764183"/>
                  <a:pt x="975328" y="767957"/>
                  <a:pt x="970260" y="769797"/>
                </a:cubicBezTo>
                <a:lnTo>
                  <a:pt x="968041" y="769698"/>
                </a:lnTo>
                <a:lnTo>
                  <a:pt x="971223" y="796464"/>
                </a:ln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36" y="679931"/>
                </a:lnTo>
                <a:lnTo>
                  <a:pt x="217600" y="670642"/>
                </a:lnTo>
                <a:lnTo>
                  <a:pt x="83412" y="171008"/>
                </a:lnTo>
                <a:cubicBezTo>
                  <a:pt x="79449" y="156256"/>
                  <a:pt x="88196" y="141086"/>
                  <a:pt x="102948" y="137124"/>
                </a:cubicBezTo>
                <a:lnTo>
                  <a:pt x="209786" y="108431"/>
                </a:lnTo>
                <a:cubicBezTo>
                  <a:pt x="224538" y="104468"/>
                  <a:pt x="239708" y="113215"/>
                  <a:pt x="243670" y="127967"/>
                </a:cubicBezTo>
                <a:lnTo>
                  <a:pt x="377859" y="627601"/>
                </a:lnTo>
                <a:lnTo>
                  <a:pt x="377609" y="629502"/>
                </a:lnTo>
                <a:lnTo>
                  <a:pt x="434239" y="628696"/>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3" name="Frihandsfigur: Form 72"/>
          <p:cNvSpPr/>
          <p:nvPr/>
        </p:nvSpPr>
        <p:spPr>
          <a:xfrm>
            <a:off x="7809081" y="1515782"/>
            <a:ext cx="973763" cy="1603180"/>
          </a:xfrm>
          <a:custGeom>
            <a:avLst/>
            <a:gdLst>
              <a:gd name="connsiteX0" fmla="*/ 461071 w 973763"/>
              <a:gd name="connsiteY0" fmla="*/ 0 h 1603180"/>
              <a:gd name="connsiteX1" fmla="*/ 568395 w 973763"/>
              <a:gd name="connsiteY1" fmla="*/ 0 h 1603180"/>
              <a:gd name="connsiteX2" fmla="*/ 595227 w 973763"/>
              <a:gd name="connsiteY2" fmla="*/ 26832 h 1603180"/>
              <a:gd name="connsiteX3" fmla="*/ 595227 w 973763"/>
              <a:gd name="connsiteY3" fmla="*/ 626407 h 1603180"/>
              <a:gd name="connsiteX4" fmla="*/ 627619 w 973763"/>
              <a:gd name="connsiteY4" fmla="*/ 625946 h 1603180"/>
              <a:gd name="connsiteX5" fmla="*/ 627619 w 973763"/>
              <a:gd name="connsiteY5" fmla="*/ 28731 h 1603180"/>
              <a:gd name="connsiteX6" fmla="*/ 656350 w 973763"/>
              <a:gd name="connsiteY6" fmla="*/ 0 h 1603180"/>
              <a:gd name="connsiteX7" fmla="*/ 771268 w 973763"/>
              <a:gd name="connsiteY7" fmla="*/ 0 h 1603180"/>
              <a:gd name="connsiteX8" fmla="*/ 799999 w 973763"/>
              <a:gd name="connsiteY8" fmla="*/ 28731 h 1603180"/>
              <a:gd name="connsiteX9" fmla="*/ 799999 w 973763"/>
              <a:gd name="connsiteY9" fmla="*/ 623494 h 1603180"/>
              <a:gd name="connsiteX10" fmla="*/ 829417 w 973763"/>
              <a:gd name="connsiteY10" fmla="*/ 623075 h 1603180"/>
              <a:gd name="connsiteX11" fmla="*/ 829417 w 973763"/>
              <a:gd name="connsiteY11" fmla="*/ 309797 h 1603180"/>
              <a:gd name="connsiteX12" fmla="*/ 850486 w 973763"/>
              <a:gd name="connsiteY12" fmla="*/ 288728 h 1603180"/>
              <a:gd name="connsiteX13" fmla="*/ 934759 w 973763"/>
              <a:gd name="connsiteY13" fmla="*/ 288728 h 1603180"/>
              <a:gd name="connsiteX14" fmla="*/ 955828 w 973763"/>
              <a:gd name="connsiteY14" fmla="*/ 309797 h 1603180"/>
              <a:gd name="connsiteX15" fmla="*/ 955828 w 973763"/>
              <a:gd name="connsiteY15" fmla="*/ 690131 h 1603180"/>
              <a:gd name="connsiteX16" fmla="*/ 951108 w 973763"/>
              <a:gd name="connsiteY16" fmla="*/ 701526 h 1603180"/>
              <a:gd name="connsiteX17" fmla="*/ 964720 w 973763"/>
              <a:gd name="connsiteY17" fmla="*/ 741764 h 1603180"/>
              <a:gd name="connsiteX18" fmla="*/ 971223 w 973763"/>
              <a:gd name="connsiteY18" fmla="*/ 796464 h 1603180"/>
              <a:gd name="connsiteX19" fmla="*/ 973763 w 973763"/>
              <a:gd name="connsiteY19" fmla="*/ 1042786 h 1603180"/>
              <a:gd name="connsiteX20" fmla="*/ 886144 w 973763"/>
              <a:gd name="connsiteY20" fmla="*/ 1249785 h 1603180"/>
              <a:gd name="connsiteX21" fmla="*/ 805616 w 973763"/>
              <a:gd name="connsiteY21" fmla="*/ 1338685 h 1603180"/>
              <a:gd name="connsiteX22" fmla="*/ 805616 w 973763"/>
              <a:gd name="connsiteY22" fmla="*/ 1534410 h 1603180"/>
              <a:gd name="connsiteX23" fmla="*/ 740656 w 973763"/>
              <a:gd name="connsiteY23" fmla="*/ 1599370 h 1603180"/>
              <a:gd name="connsiteX24" fmla="*/ 410339 w 973763"/>
              <a:gd name="connsiteY24" fmla="*/ 1603180 h 1603180"/>
              <a:gd name="connsiteX25" fmla="*/ 352999 w 973763"/>
              <a:gd name="connsiteY25" fmla="*/ 1543935 h 1603180"/>
              <a:gd name="connsiteX26" fmla="*/ 335564 w 973763"/>
              <a:gd name="connsiteY26" fmla="*/ 1342670 h 1603180"/>
              <a:gd name="connsiteX27" fmla="*/ 319674 w 973763"/>
              <a:gd name="connsiteY27" fmla="*/ 1347018 h 1603180"/>
              <a:gd name="connsiteX28" fmla="*/ 249089 w 973763"/>
              <a:gd name="connsiteY28" fmla="*/ 1343844 h 1603180"/>
              <a:gd name="connsiteX29" fmla="*/ 135563 w 973763"/>
              <a:gd name="connsiteY29" fmla="*/ 1220019 h 1603180"/>
              <a:gd name="connsiteX30" fmla="*/ 635 w 973763"/>
              <a:gd name="connsiteY30" fmla="*/ 1064098 h 1603180"/>
              <a:gd name="connsiteX31" fmla="*/ 0 w 973763"/>
              <a:gd name="connsiteY31" fmla="*/ 720541 h 1603180"/>
              <a:gd name="connsiteX32" fmla="*/ 30788 w 973763"/>
              <a:gd name="connsiteY32" fmla="*/ 685270 h 1603180"/>
              <a:gd name="connsiteX33" fmla="*/ 153939 w 973763"/>
              <a:gd name="connsiteY33" fmla="*/ 685270 h 1603180"/>
              <a:gd name="connsiteX34" fmla="*/ 184727 w 973763"/>
              <a:gd name="connsiteY34" fmla="*/ 720541 h 1603180"/>
              <a:gd name="connsiteX35" fmla="*/ 184727 w 973763"/>
              <a:gd name="connsiteY35" fmla="*/ 1023012 h 1603180"/>
              <a:gd name="connsiteX36" fmla="*/ 219903 w 973763"/>
              <a:gd name="connsiteY36" fmla="*/ 1023012 h 1603180"/>
              <a:gd name="connsiteX37" fmla="*/ 224740 w 973763"/>
              <a:gd name="connsiteY37" fmla="*/ 679624 h 1603180"/>
              <a:gd name="connsiteX38" fmla="*/ 232830 w 973763"/>
              <a:gd name="connsiteY38" fmla="*/ 644370 h 1603180"/>
              <a:gd name="connsiteX39" fmla="*/ 235909 w 973763"/>
              <a:gd name="connsiteY39" fmla="*/ 642476 h 1603180"/>
              <a:gd name="connsiteX40" fmla="*/ 235909 w 973763"/>
              <a:gd name="connsiteY40" fmla="*/ 166203 h 1603180"/>
              <a:gd name="connsiteX41" fmla="*/ 263566 w 973763"/>
              <a:gd name="connsiteY41" fmla="*/ 138546 h 1603180"/>
              <a:gd name="connsiteX42" fmla="*/ 374190 w 973763"/>
              <a:gd name="connsiteY42" fmla="*/ 138546 h 1603180"/>
              <a:gd name="connsiteX43" fmla="*/ 401847 w 973763"/>
              <a:gd name="connsiteY43" fmla="*/ 166203 h 1603180"/>
              <a:gd name="connsiteX44" fmla="*/ 401847 w 973763"/>
              <a:gd name="connsiteY44" fmla="*/ 629157 h 1603180"/>
              <a:gd name="connsiteX45" fmla="*/ 434239 w 973763"/>
              <a:gd name="connsiteY45" fmla="*/ 628697 h 1603180"/>
              <a:gd name="connsiteX46" fmla="*/ 434239 w 973763"/>
              <a:gd name="connsiteY46" fmla="*/ 26832 h 1603180"/>
              <a:gd name="connsiteX47" fmla="*/ 461071 w 973763"/>
              <a:gd name="connsiteY47" fmla="*/ 0 h 160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73763" h="1603180">
                <a:moveTo>
                  <a:pt x="461071" y="0"/>
                </a:moveTo>
                <a:lnTo>
                  <a:pt x="568395" y="0"/>
                </a:lnTo>
                <a:cubicBezTo>
                  <a:pt x="583214" y="0"/>
                  <a:pt x="595227" y="12013"/>
                  <a:pt x="595227" y="26832"/>
                </a:cubicBezTo>
                <a:lnTo>
                  <a:pt x="595227" y="626407"/>
                </a:lnTo>
                <a:lnTo>
                  <a:pt x="627619" y="625946"/>
                </a:lnTo>
                <a:lnTo>
                  <a:pt x="627619" y="28731"/>
                </a:lnTo>
                <a:cubicBezTo>
                  <a:pt x="627619" y="12863"/>
                  <a:pt x="640482" y="0"/>
                  <a:pt x="656350" y="0"/>
                </a:cubicBezTo>
                <a:lnTo>
                  <a:pt x="771268" y="0"/>
                </a:lnTo>
                <a:cubicBezTo>
                  <a:pt x="787136" y="0"/>
                  <a:pt x="799999" y="12863"/>
                  <a:pt x="799999" y="28731"/>
                </a:cubicBezTo>
                <a:lnTo>
                  <a:pt x="799999" y="623494"/>
                </a:lnTo>
                <a:lnTo>
                  <a:pt x="829417" y="623075"/>
                </a:lnTo>
                <a:lnTo>
                  <a:pt x="829417" y="309797"/>
                </a:lnTo>
                <a:cubicBezTo>
                  <a:pt x="829417" y="298161"/>
                  <a:pt x="838850" y="288728"/>
                  <a:pt x="850486" y="288728"/>
                </a:cubicBezTo>
                <a:lnTo>
                  <a:pt x="934759" y="288728"/>
                </a:lnTo>
                <a:cubicBezTo>
                  <a:pt x="946395" y="288728"/>
                  <a:pt x="955828" y="298161"/>
                  <a:pt x="955828" y="309797"/>
                </a:cubicBezTo>
                <a:lnTo>
                  <a:pt x="955828" y="690131"/>
                </a:lnTo>
                <a:lnTo>
                  <a:pt x="951108" y="701526"/>
                </a:lnTo>
                <a:lnTo>
                  <a:pt x="964720" y="741764"/>
                </a:lnTo>
                <a:cubicBezTo>
                  <a:pt x="969030" y="761131"/>
                  <a:pt x="971223" y="780158"/>
                  <a:pt x="971223" y="796464"/>
                </a:cubicBezTo>
                <a:cubicBezTo>
                  <a:pt x="972070" y="892118"/>
                  <a:pt x="972916" y="947132"/>
                  <a:pt x="973763" y="1042786"/>
                </a:cubicBezTo>
                <a:cubicBezTo>
                  <a:pt x="973763" y="1108010"/>
                  <a:pt x="936128" y="1178665"/>
                  <a:pt x="886144" y="1249785"/>
                </a:cubicBezTo>
                <a:lnTo>
                  <a:pt x="805616" y="1338685"/>
                </a:lnTo>
                <a:lnTo>
                  <a:pt x="805616" y="1534410"/>
                </a:lnTo>
                <a:cubicBezTo>
                  <a:pt x="805616" y="1570286"/>
                  <a:pt x="776532" y="1599370"/>
                  <a:pt x="740656" y="1599370"/>
                </a:cubicBezTo>
                <a:lnTo>
                  <a:pt x="410339" y="1603180"/>
                </a:lnTo>
                <a:cubicBezTo>
                  <a:pt x="374463" y="1603180"/>
                  <a:pt x="352999" y="1579811"/>
                  <a:pt x="352999" y="1543935"/>
                </a:cubicBezTo>
                <a:lnTo>
                  <a:pt x="335564" y="1342670"/>
                </a:lnTo>
                <a:lnTo>
                  <a:pt x="319674" y="1347018"/>
                </a:lnTo>
                <a:lnTo>
                  <a:pt x="249089" y="1343844"/>
                </a:lnTo>
                <a:cubicBezTo>
                  <a:pt x="208495" y="1343844"/>
                  <a:pt x="204097" y="1301298"/>
                  <a:pt x="135563" y="1220019"/>
                </a:cubicBezTo>
                <a:cubicBezTo>
                  <a:pt x="93794" y="1166679"/>
                  <a:pt x="635" y="1083578"/>
                  <a:pt x="635" y="1064098"/>
                </a:cubicBezTo>
                <a:cubicBezTo>
                  <a:pt x="423" y="958469"/>
                  <a:pt x="212" y="826170"/>
                  <a:pt x="0" y="720541"/>
                </a:cubicBezTo>
                <a:cubicBezTo>
                  <a:pt x="0" y="701061"/>
                  <a:pt x="13784" y="685270"/>
                  <a:pt x="30788" y="685270"/>
                </a:cubicBezTo>
                <a:lnTo>
                  <a:pt x="153939" y="685270"/>
                </a:lnTo>
                <a:cubicBezTo>
                  <a:pt x="170943" y="685270"/>
                  <a:pt x="184727" y="701061"/>
                  <a:pt x="184727" y="720541"/>
                </a:cubicBezTo>
                <a:lnTo>
                  <a:pt x="184727" y="1023012"/>
                </a:lnTo>
                <a:lnTo>
                  <a:pt x="219903" y="1023012"/>
                </a:lnTo>
                <a:lnTo>
                  <a:pt x="224740" y="679624"/>
                </a:lnTo>
                <a:cubicBezTo>
                  <a:pt x="224740" y="663318"/>
                  <a:pt x="227568" y="652070"/>
                  <a:pt x="232830" y="644370"/>
                </a:cubicBezTo>
                <a:lnTo>
                  <a:pt x="235909" y="642476"/>
                </a:lnTo>
                <a:lnTo>
                  <a:pt x="235909" y="166203"/>
                </a:lnTo>
                <a:cubicBezTo>
                  <a:pt x="235909" y="150928"/>
                  <a:pt x="248291" y="138546"/>
                  <a:pt x="263566" y="138546"/>
                </a:cubicBezTo>
                <a:lnTo>
                  <a:pt x="374190" y="138546"/>
                </a:lnTo>
                <a:cubicBezTo>
                  <a:pt x="389465" y="138546"/>
                  <a:pt x="401847" y="150928"/>
                  <a:pt x="401847" y="166203"/>
                </a:cubicBezTo>
                <a:lnTo>
                  <a:pt x="401847" y="629157"/>
                </a:lnTo>
                <a:lnTo>
                  <a:pt x="434239" y="628697"/>
                </a:lnTo>
                <a:lnTo>
                  <a:pt x="434239" y="26832"/>
                </a:lnTo>
                <a:cubicBezTo>
                  <a:pt x="434239" y="12013"/>
                  <a:pt x="446252" y="0"/>
                  <a:pt x="461071"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85" name="textruta 84"/>
          <p:cNvSpPr txBox="1"/>
          <p:nvPr/>
        </p:nvSpPr>
        <p:spPr>
          <a:xfrm>
            <a:off x="632460" y="5416132"/>
            <a:ext cx="4145280" cy="369332"/>
          </a:xfrm>
          <a:prstGeom prst="rect">
            <a:avLst/>
          </a:prstGeom>
          <a:noFill/>
        </p:spPr>
        <p:txBody>
          <a:bodyPr wrap="square" rtlCol="0">
            <a:spAutoFit/>
          </a:bodyPr>
          <a:lstStyle/>
          <a:p>
            <a:r>
              <a:rPr lang="en-GB" dirty="0"/>
              <a:t>Error bars = range of observed values</a:t>
            </a:r>
          </a:p>
        </p:txBody>
      </p:sp>
      <p:graphicFrame>
        <p:nvGraphicFramePr>
          <p:cNvPr id="33" name="Diagram 32">
            <a:extLst>
              <a:ext uri="{FF2B5EF4-FFF2-40B4-BE49-F238E27FC236}">
                <a16:creationId xmlns:a16="http://schemas.microsoft.com/office/drawing/2014/main" id="{1067B11C-34FC-46C2-A6D4-D8887BFAB598}"/>
              </a:ext>
            </a:extLst>
          </p:cNvPr>
          <p:cNvGraphicFramePr>
            <a:graphicFrameLocks/>
          </p:cNvGraphicFramePr>
          <p:nvPr>
            <p:extLst>
              <p:ext uri="{D42A27DB-BD31-4B8C-83A1-F6EECF244321}">
                <p14:modId xmlns:p14="http://schemas.microsoft.com/office/powerpoint/2010/main" val="108879424"/>
              </p:ext>
            </p:extLst>
          </p:nvPr>
        </p:nvGraphicFramePr>
        <p:xfrm>
          <a:off x="0" y="1439582"/>
          <a:ext cx="6279798" cy="3767879"/>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ruta 11"/>
          <p:cNvSpPr txBox="1"/>
          <p:nvPr/>
        </p:nvSpPr>
        <p:spPr>
          <a:xfrm>
            <a:off x="6661318" y="3589664"/>
            <a:ext cx="2270760" cy="1815882"/>
          </a:xfrm>
          <a:prstGeom prst="rect">
            <a:avLst/>
          </a:prstGeom>
          <a:noFill/>
        </p:spPr>
        <p:txBody>
          <a:bodyPr wrap="square" rtlCol="0">
            <a:spAutoFit/>
          </a:bodyPr>
          <a:lstStyle/>
          <a:p>
            <a:r>
              <a:rPr lang="en-GB" sz="1400" dirty="0"/>
              <a:t>Nano spread = the least the test person could spread fingers without them touching</a:t>
            </a:r>
          </a:p>
          <a:p>
            <a:endParaRPr lang="en-GB" sz="1400" dirty="0"/>
          </a:p>
          <a:p>
            <a:r>
              <a:rPr lang="en-GB" sz="1400" dirty="0"/>
              <a:t>Super spread = angle of 30 </a:t>
            </a:r>
            <a:r>
              <a:rPr lang="en-GB" sz="1400" dirty="0" err="1"/>
              <a:t>deg</a:t>
            </a:r>
            <a:r>
              <a:rPr lang="en-GB" sz="1400" dirty="0"/>
              <a:t> between long and </a:t>
            </a:r>
            <a:r>
              <a:rPr lang="en-GB" sz="1400" dirty="0" err="1"/>
              <a:t>pinky</a:t>
            </a:r>
            <a:r>
              <a:rPr lang="en-GB" sz="1400" dirty="0"/>
              <a:t> finger (max ability)</a:t>
            </a:r>
          </a:p>
        </p:txBody>
      </p:sp>
    </p:spTree>
    <p:extLst>
      <p:ext uri="{BB962C8B-B14F-4D97-AF65-F5344CB8AC3E}">
        <p14:creationId xmlns:p14="http://schemas.microsoft.com/office/powerpoint/2010/main" val="28570312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Diagram 28">
            <a:extLst>
              <a:ext uri="{FF2B5EF4-FFF2-40B4-BE49-F238E27FC236}">
                <a16:creationId xmlns:a16="http://schemas.microsoft.com/office/drawing/2014/main" id="{BD40B2C7-9F6E-4930-9205-960517914226}"/>
              </a:ext>
            </a:extLst>
          </p:cNvPr>
          <p:cNvGraphicFramePr>
            <a:graphicFrameLocks/>
          </p:cNvGraphicFramePr>
          <p:nvPr>
            <p:extLst>
              <p:ext uri="{D42A27DB-BD31-4B8C-83A1-F6EECF244321}">
                <p14:modId xmlns:p14="http://schemas.microsoft.com/office/powerpoint/2010/main" val="3292146446"/>
              </p:ext>
            </p:extLst>
          </p:nvPr>
        </p:nvGraphicFramePr>
        <p:xfrm>
          <a:off x="192651" y="1276698"/>
          <a:ext cx="6660964" cy="4296389"/>
        </p:xfrm>
        <a:graphic>
          <a:graphicData uri="http://schemas.openxmlformats.org/drawingml/2006/chart">
            <c:chart xmlns:c="http://schemas.openxmlformats.org/drawingml/2006/chart" xmlns:r="http://schemas.openxmlformats.org/officeDocument/2006/relationships" r:id="rId3"/>
          </a:graphicData>
        </a:graphic>
      </p:graphicFrame>
      <p:sp>
        <p:nvSpPr>
          <p:cNvPr id="2" name="Rubrik 1"/>
          <p:cNvSpPr>
            <a:spLocks noGrp="1"/>
          </p:cNvSpPr>
          <p:nvPr>
            <p:ph type="title"/>
          </p:nvPr>
        </p:nvSpPr>
        <p:spPr/>
        <p:txBody>
          <a:bodyPr/>
          <a:lstStyle/>
          <a:p>
            <a:r>
              <a:rPr lang="en-GB" dirty="0"/>
              <a:t>Hand parameters: pitch</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7</a:t>
            </a:fld>
            <a:endParaRPr lang="en-GB"/>
          </a:p>
        </p:txBody>
      </p:sp>
      <p:sp>
        <p:nvSpPr>
          <p:cNvPr id="6" name="Platshållare för sidfot 5"/>
          <p:cNvSpPr>
            <a:spLocks noGrp="1"/>
          </p:cNvSpPr>
          <p:nvPr>
            <p:ph type="ftr" sz="quarter" idx="11"/>
          </p:nvPr>
        </p:nvSpPr>
        <p:spPr/>
        <p:txBody>
          <a:bodyPr/>
          <a:lstStyle/>
          <a:p>
            <a:r>
              <a:rPr lang="en-GB"/>
              <a:t>KTH IPT Team</a:t>
            </a:r>
          </a:p>
        </p:txBody>
      </p:sp>
      <p:grpSp>
        <p:nvGrpSpPr>
          <p:cNvPr id="24" name="Grupp 23"/>
          <p:cNvGrpSpPr/>
          <p:nvPr/>
        </p:nvGrpSpPr>
        <p:grpSpPr>
          <a:xfrm>
            <a:off x="6870644" y="1179436"/>
            <a:ext cx="347180" cy="1527265"/>
            <a:chOff x="6870644" y="1179436"/>
            <a:chExt cx="347180" cy="1527265"/>
          </a:xfrm>
        </p:grpSpPr>
        <p:sp>
          <p:nvSpPr>
            <p:cNvPr id="15" name="Rektangel: rundade hörn 14"/>
            <p:cNvSpPr/>
            <p:nvPr/>
          </p:nvSpPr>
          <p:spPr>
            <a:xfrm>
              <a:off x="7021321" y="1179436"/>
              <a:ext cx="126519"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7" name="Frihandsfigur: Form 16"/>
            <p:cNvSpPr/>
            <p:nvPr/>
          </p:nvSpPr>
          <p:spPr>
            <a:xfrm>
              <a:off x="6979442" y="1720926"/>
              <a:ext cx="238382" cy="98577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6643"/>
                <a:gd name="connsiteY0" fmla="*/ 12700 h 985775"/>
                <a:gd name="connsiteX1" fmla="*/ 479238 w 756643"/>
                <a:gd name="connsiteY1" fmla="*/ 0 h 985775"/>
                <a:gd name="connsiteX2" fmla="*/ 754103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756643"/>
                <a:gd name="connsiteY0" fmla="*/ 12700 h 985775"/>
                <a:gd name="connsiteX1" fmla="*/ 479238 w 756643"/>
                <a:gd name="connsiteY1" fmla="*/ 0 h 985775"/>
                <a:gd name="connsiteX2" fmla="*/ 613124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687057"/>
                <a:gd name="connsiteY0" fmla="*/ 12700 h 985775"/>
                <a:gd name="connsiteX1" fmla="*/ 479238 w 687057"/>
                <a:gd name="connsiteY1" fmla="*/ 0 h 985775"/>
                <a:gd name="connsiteX2" fmla="*/ 613124 w 687057"/>
                <a:gd name="connsiteY2" fmla="*/ 179059 h 985775"/>
                <a:gd name="connsiteX3" fmla="*/ 649230 w 687057"/>
                <a:gd name="connsiteY3" fmla="*/ 427921 h 985775"/>
                <a:gd name="connsiteX4" fmla="*/ 669024 w 687057"/>
                <a:gd name="connsiteY4" fmla="*/ 632380 h 985775"/>
                <a:gd name="connsiteX5" fmla="*/ 588496 w 687057"/>
                <a:gd name="connsiteY5" fmla="*/ 721280 h 985775"/>
                <a:gd name="connsiteX6" fmla="*/ 588496 w 687057"/>
                <a:gd name="connsiteY6" fmla="*/ 917005 h 985775"/>
                <a:gd name="connsiteX7" fmla="*/ 523536 w 687057"/>
                <a:gd name="connsiteY7" fmla="*/ 981965 h 985775"/>
                <a:gd name="connsiteX8" fmla="*/ 193219 w 687057"/>
                <a:gd name="connsiteY8" fmla="*/ 985775 h 985775"/>
                <a:gd name="connsiteX9" fmla="*/ 135879 w 687057"/>
                <a:gd name="connsiteY9" fmla="*/ 926530 h 985775"/>
                <a:gd name="connsiteX10" fmla="*/ 118099 w 687057"/>
                <a:gd name="connsiteY10" fmla="*/ 721280 h 985775"/>
                <a:gd name="connsiteX11" fmla="*/ 0 w 687057"/>
                <a:gd name="connsiteY11" fmla="*/ 603181 h 985775"/>
                <a:gd name="connsiteX12" fmla="*/ 7620 w 687057"/>
                <a:gd name="connsiteY12" fmla="*/ 62219 h 985775"/>
                <a:gd name="connsiteX13" fmla="*/ 118099 w 687057"/>
                <a:gd name="connsiteY13" fmla="*/ 12700 h 985775"/>
                <a:gd name="connsiteX0" fmla="*/ 118099 w 684147"/>
                <a:gd name="connsiteY0" fmla="*/ 12700 h 985775"/>
                <a:gd name="connsiteX1" fmla="*/ 479238 w 684147"/>
                <a:gd name="connsiteY1" fmla="*/ 0 h 985775"/>
                <a:gd name="connsiteX2" fmla="*/ 613124 w 684147"/>
                <a:gd name="connsiteY2" fmla="*/ 179059 h 985775"/>
                <a:gd name="connsiteX3" fmla="*/ 629090 w 684147"/>
                <a:gd name="connsiteY3" fmla="*/ 425381 h 985775"/>
                <a:gd name="connsiteX4" fmla="*/ 669024 w 684147"/>
                <a:gd name="connsiteY4" fmla="*/ 632380 h 985775"/>
                <a:gd name="connsiteX5" fmla="*/ 588496 w 684147"/>
                <a:gd name="connsiteY5" fmla="*/ 721280 h 985775"/>
                <a:gd name="connsiteX6" fmla="*/ 588496 w 684147"/>
                <a:gd name="connsiteY6" fmla="*/ 917005 h 985775"/>
                <a:gd name="connsiteX7" fmla="*/ 523536 w 684147"/>
                <a:gd name="connsiteY7" fmla="*/ 981965 h 985775"/>
                <a:gd name="connsiteX8" fmla="*/ 193219 w 684147"/>
                <a:gd name="connsiteY8" fmla="*/ 985775 h 985775"/>
                <a:gd name="connsiteX9" fmla="*/ 135879 w 684147"/>
                <a:gd name="connsiteY9" fmla="*/ 926530 h 985775"/>
                <a:gd name="connsiteX10" fmla="*/ 118099 w 684147"/>
                <a:gd name="connsiteY10" fmla="*/ 721280 h 985775"/>
                <a:gd name="connsiteX11" fmla="*/ 0 w 684147"/>
                <a:gd name="connsiteY11" fmla="*/ 603181 h 985775"/>
                <a:gd name="connsiteX12" fmla="*/ 7620 w 684147"/>
                <a:gd name="connsiteY12" fmla="*/ 62219 h 985775"/>
                <a:gd name="connsiteX13" fmla="*/ 118099 w 684147"/>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136146 w 684414"/>
                <a:gd name="connsiteY9" fmla="*/ 92653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69012 w 684414"/>
                <a:gd name="connsiteY9" fmla="*/ 92907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30052"/>
                <a:gd name="connsiteY0" fmla="*/ 12700 h 985775"/>
                <a:gd name="connsiteX1" fmla="*/ 479505 w 630052"/>
                <a:gd name="connsiteY1" fmla="*/ 0 h 985775"/>
                <a:gd name="connsiteX2" fmla="*/ 613391 w 630052"/>
                <a:gd name="connsiteY2" fmla="*/ 179059 h 985775"/>
                <a:gd name="connsiteX3" fmla="*/ 629357 w 630052"/>
                <a:gd name="connsiteY3" fmla="*/ 425381 h 985775"/>
                <a:gd name="connsiteX4" fmla="*/ 588731 w 630052"/>
                <a:gd name="connsiteY4" fmla="*/ 622220 h 985775"/>
                <a:gd name="connsiteX5" fmla="*/ 588763 w 630052"/>
                <a:gd name="connsiteY5" fmla="*/ 721280 h 985775"/>
                <a:gd name="connsiteX6" fmla="*/ 588763 w 630052"/>
                <a:gd name="connsiteY6" fmla="*/ 917005 h 985775"/>
                <a:gd name="connsiteX7" fmla="*/ 523803 w 630052"/>
                <a:gd name="connsiteY7" fmla="*/ 981965 h 985775"/>
                <a:gd name="connsiteX8" fmla="*/ 193486 w 630052"/>
                <a:gd name="connsiteY8" fmla="*/ 985775 h 985775"/>
                <a:gd name="connsiteX9" fmla="*/ 69012 w 630052"/>
                <a:gd name="connsiteY9" fmla="*/ 929070 h 985775"/>
                <a:gd name="connsiteX10" fmla="*/ 57946 w 630052"/>
                <a:gd name="connsiteY10" fmla="*/ 718740 h 985775"/>
                <a:gd name="connsiteX11" fmla="*/ 267 w 630052"/>
                <a:gd name="connsiteY11" fmla="*/ 603181 h 985775"/>
                <a:gd name="connsiteX12" fmla="*/ 7887 w 630052"/>
                <a:gd name="connsiteY12" fmla="*/ 62219 h 985775"/>
                <a:gd name="connsiteX13" fmla="*/ 118366 w 630052"/>
                <a:gd name="connsiteY13" fmla="*/ 12700 h 9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052" h="985775">
                  <a:moveTo>
                    <a:pt x="118366" y="12700"/>
                  </a:moveTo>
                  <a:lnTo>
                    <a:pt x="479505" y="0"/>
                  </a:lnTo>
                  <a:cubicBezTo>
                    <a:pt x="544729" y="0"/>
                    <a:pt x="613391" y="113835"/>
                    <a:pt x="613391" y="179059"/>
                  </a:cubicBezTo>
                  <a:cubicBezTo>
                    <a:pt x="614238" y="274713"/>
                    <a:pt x="628510" y="329727"/>
                    <a:pt x="629357" y="425381"/>
                  </a:cubicBezTo>
                  <a:cubicBezTo>
                    <a:pt x="629357" y="490605"/>
                    <a:pt x="638715" y="551100"/>
                    <a:pt x="588731" y="622220"/>
                  </a:cubicBezTo>
                  <a:cubicBezTo>
                    <a:pt x="588742" y="655240"/>
                    <a:pt x="588752" y="688260"/>
                    <a:pt x="588763" y="721280"/>
                  </a:cubicBezTo>
                  <a:lnTo>
                    <a:pt x="588763" y="917005"/>
                  </a:lnTo>
                  <a:cubicBezTo>
                    <a:pt x="588763" y="952881"/>
                    <a:pt x="559679" y="981965"/>
                    <a:pt x="523803" y="981965"/>
                  </a:cubicBezTo>
                  <a:lnTo>
                    <a:pt x="193486" y="985775"/>
                  </a:lnTo>
                  <a:cubicBezTo>
                    <a:pt x="157610" y="985775"/>
                    <a:pt x="69012" y="964946"/>
                    <a:pt x="69012" y="929070"/>
                  </a:cubicBezTo>
                  <a:lnTo>
                    <a:pt x="57946" y="718740"/>
                  </a:lnTo>
                  <a:cubicBezTo>
                    <a:pt x="-7278" y="718740"/>
                    <a:pt x="267" y="668405"/>
                    <a:pt x="267" y="603181"/>
                  </a:cubicBezTo>
                  <a:cubicBezTo>
                    <a:pt x="1960" y="422014"/>
                    <a:pt x="6194" y="243386"/>
                    <a:pt x="7887" y="62219"/>
                  </a:cubicBezTo>
                  <a:cubicBezTo>
                    <a:pt x="7887" y="-3005"/>
                    <a:pt x="53142" y="12700"/>
                    <a:pt x="118366" y="1270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8" name="Frihandsfigur: Form 17"/>
            <p:cNvSpPr/>
            <p:nvPr/>
          </p:nvSpPr>
          <p:spPr>
            <a:xfrm flipH="1">
              <a:off x="6870644" y="1736240"/>
              <a:ext cx="301354"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grpSp>
        <p:nvGrpSpPr>
          <p:cNvPr id="3" name="Grupp 2"/>
          <p:cNvGrpSpPr/>
          <p:nvPr/>
        </p:nvGrpSpPr>
        <p:grpSpPr>
          <a:xfrm rot="2435034">
            <a:off x="7476353" y="1311407"/>
            <a:ext cx="347180" cy="1527265"/>
            <a:chOff x="7236637" y="1177723"/>
            <a:chExt cx="347180" cy="1527265"/>
          </a:xfrm>
        </p:grpSpPr>
        <p:sp>
          <p:nvSpPr>
            <p:cNvPr id="19" name="Rektangel: rundade hörn 18"/>
            <p:cNvSpPr/>
            <p:nvPr/>
          </p:nvSpPr>
          <p:spPr>
            <a:xfrm>
              <a:off x="7387314" y="1177723"/>
              <a:ext cx="126519"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0" name="Frihandsfigur: Form 19"/>
            <p:cNvSpPr/>
            <p:nvPr/>
          </p:nvSpPr>
          <p:spPr>
            <a:xfrm>
              <a:off x="7345435" y="1719213"/>
              <a:ext cx="238382" cy="98577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6643"/>
                <a:gd name="connsiteY0" fmla="*/ 12700 h 985775"/>
                <a:gd name="connsiteX1" fmla="*/ 479238 w 756643"/>
                <a:gd name="connsiteY1" fmla="*/ 0 h 985775"/>
                <a:gd name="connsiteX2" fmla="*/ 754103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756643"/>
                <a:gd name="connsiteY0" fmla="*/ 12700 h 985775"/>
                <a:gd name="connsiteX1" fmla="*/ 479238 w 756643"/>
                <a:gd name="connsiteY1" fmla="*/ 0 h 985775"/>
                <a:gd name="connsiteX2" fmla="*/ 613124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687057"/>
                <a:gd name="connsiteY0" fmla="*/ 12700 h 985775"/>
                <a:gd name="connsiteX1" fmla="*/ 479238 w 687057"/>
                <a:gd name="connsiteY1" fmla="*/ 0 h 985775"/>
                <a:gd name="connsiteX2" fmla="*/ 613124 w 687057"/>
                <a:gd name="connsiteY2" fmla="*/ 179059 h 985775"/>
                <a:gd name="connsiteX3" fmla="*/ 649230 w 687057"/>
                <a:gd name="connsiteY3" fmla="*/ 427921 h 985775"/>
                <a:gd name="connsiteX4" fmla="*/ 669024 w 687057"/>
                <a:gd name="connsiteY4" fmla="*/ 632380 h 985775"/>
                <a:gd name="connsiteX5" fmla="*/ 588496 w 687057"/>
                <a:gd name="connsiteY5" fmla="*/ 721280 h 985775"/>
                <a:gd name="connsiteX6" fmla="*/ 588496 w 687057"/>
                <a:gd name="connsiteY6" fmla="*/ 917005 h 985775"/>
                <a:gd name="connsiteX7" fmla="*/ 523536 w 687057"/>
                <a:gd name="connsiteY7" fmla="*/ 981965 h 985775"/>
                <a:gd name="connsiteX8" fmla="*/ 193219 w 687057"/>
                <a:gd name="connsiteY8" fmla="*/ 985775 h 985775"/>
                <a:gd name="connsiteX9" fmla="*/ 135879 w 687057"/>
                <a:gd name="connsiteY9" fmla="*/ 926530 h 985775"/>
                <a:gd name="connsiteX10" fmla="*/ 118099 w 687057"/>
                <a:gd name="connsiteY10" fmla="*/ 721280 h 985775"/>
                <a:gd name="connsiteX11" fmla="*/ 0 w 687057"/>
                <a:gd name="connsiteY11" fmla="*/ 603181 h 985775"/>
                <a:gd name="connsiteX12" fmla="*/ 7620 w 687057"/>
                <a:gd name="connsiteY12" fmla="*/ 62219 h 985775"/>
                <a:gd name="connsiteX13" fmla="*/ 118099 w 687057"/>
                <a:gd name="connsiteY13" fmla="*/ 12700 h 985775"/>
                <a:gd name="connsiteX0" fmla="*/ 118099 w 684147"/>
                <a:gd name="connsiteY0" fmla="*/ 12700 h 985775"/>
                <a:gd name="connsiteX1" fmla="*/ 479238 w 684147"/>
                <a:gd name="connsiteY1" fmla="*/ 0 h 985775"/>
                <a:gd name="connsiteX2" fmla="*/ 613124 w 684147"/>
                <a:gd name="connsiteY2" fmla="*/ 179059 h 985775"/>
                <a:gd name="connsiteX3" fmla="*/ 629090 w 684147"/>
                <a:gd name="connsiteY3" fmla="*/ 425381 h 985775"/>
                <a:gd name="connsiteX4" fmla="*/ 669024 w 684147"/>
                <a:gd name="connsiteY4" fmla="*/ 632380 h 985775"/>
                <a:gd name="connsiteX5" fmla="*/ 588496 w 684147"/>
                <a:gd name="connsiteY5" fmla="*/ 721280 h 985775"/>
                <a:gd name="connsiteX6" fmla="*/ 588496 w 684147"/>
                <a:gd name="connsiteY6" fmla="*/ 917005 h 985775"/>
                <a:gd name="connsiteX7" fmla="*/ 523536 w 684147"/>
                <a:gd name="connsiteY7" fmla="*/ 981965 h 985775"/>
                <a:gd name="connsiteX8" fmla="*/ 193219 w 684147"/>
                <a:gd name="connsiteY8" fmla="*/ 985775 h 985775"/>
                <a:gd name="connsiteX9" fmla="*/ 135879 w 684147"/>
                <a:gd name="connsiteY9" fmla="*/ 926530 h 985775"/>
                <a:gd name="connsiteX10" fmla="*/ 118099 w 684147"/>
                <a:gd name="connsiteY10" fmla="*/ 721280 h 985775"/>
                <a:gd name="connsiteX11" fmla="*/ 0 w 684147"/>
                <a:gd name="connsiteY11" fmla="*/ 603181 h 985775"/>
                <a:gd name="connsiteX12" fmla="*/ 7620 w 684147"/>
                <a:gd name="connsiteY12" fmla="*/ 62219 h 985775"/>
                <a:gd name="connsiteX13" fmla="*/ 118099 w 684147"/>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136146 w 684414"/>
                <a:gd name="connsiteY9" fmla="*/ 92653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69012 w 684414"/>
                <a:gd name="connsiteY9" fmla="*/ 92907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30052"/>
                <a:gd name="connsiteY0" fmla="*/ 12700 h 985775"/>
                <a:gd name="connsiteX1" fmla="*/ 479505 w 630052"/>
                <a:gd name="connsiteY1" fmla="*/ 0 h 985775"/>
                <a:gd name="connsiteX2" fmla="*/ 613391 w 630052"/>
                <a:gd name="connsiteY2" fmla="*/ 179059 h 985775"/>
                <a:gd name="connsiteX3" fmla="*/ 629357 w 630052"/>
                <a:gd name="connsiteY3" fmla="*/ 425381 h 985775"/>
                <a:gd name="connsiteX4" fmla="*/ 588731 w 630052"/>
                <a:gd name="connsiteY4" fmla="*/ 622220 h 985775"/>
                <a:gd name="connsiteX5" fmla="*/ 588763 w 630052"/>
                <a:gd name="connsiteY5" fmla="*/ 721280 h 985775"/>
                <a:gd name="connsiteX6" fmla="*/ 588763 w 630052"/>
                <a:gd name="connsiteY6" fmla="*/ 917005 h 985775"/>
                <a:gd name="connsiteX7" fmla="*/ 523803 w 630052"/>
                <a:gd name="connsiteY7" fmla="*/ 981965 h 985775"/>
                <a:gd name="connsiteX8" fmla="*/ 193486 w 630052"/>
                <a:gd name="connsiteY8" fmla="*/ 985775 h 985775"/>
                <a:gd name="connsiteX9" fmla="*/ 69012 w 630052"/>
                <a:gd name="connsiteY9" fmla="*/ 929070 h 985775"/>
                <a:gd name="connsiteX10" fmla="*/ 57946 w 630052"/>
                <a:gd name="connsiteY10" fmla="*/ 718740 h 985775"/>
                <a:gd name="connsiteX11" fmla="*/ 267 w 630052"/>
                <a:gd name="connsiteY11" fmla="*/ 603181 h 985775"/>
                <a:gd name="connsiteX12" fmla="*/ 7887 w 630052"/>
                <a:gd name="connsiteY12" fmla="*/ 62219 h 985775"/>
                <a:gd name="connsiteX13" fmla="*/ 118366 w 630052"/>
                <a:gd name="connsiteY13" fmla="*/ 12700 h 9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052" h="985775">
                  <a:moveTo>
                    <a:pt x="118366" y="12700"/>
                  </a:moveTo>
                  <a:lnTo>
                    <a:pt x="479505" y="0"/>
                  </a:lnTo>
                  <a:cubicBezTo>
                    <a:pt x="544729" y="0"/>
                    <a:pt x="613391" y="113835"/>
                    <a:pt x="613391" y="179059"/>
                  </a:cubicBezTo>
                  <a:cubicBezTo>
                    <a:pt x="614238" y="274713"/>
                    <a:pt x="628510" y="329727"/>
                    <a:pt x="629357" y="425381"/>
                  </a:cubicBezTo>
                  <a:cubicBezTo>
                    <a:pt x="629357" y="490605"/>
                    <a:pt x="638715" y="551100"/>
                    <a:pt x="588731" y="622220"/>
                  </a:cubicBezTo>
                  <a:cubicBezTo>
                    <a:pt x="588742" y="655240"/>
                    <a:pt x="588752" y="688260"/>
                    <a:pt x="588763" y="721280"/>
                  </a:cubicBezTo>
                  <a:lnTo>
                    <a:pt x="588763" y="917005"/>
                  </a:lnTo>
                  <a:cubicBezTo>
                    <a:pt x="588763" y="952881"/>
                    <a:pt x="559679" y="981965"/>
                    <a:pt x="523803" y="981965"/>
                  </a:cubicBezTo>
                  <a:lnTo>
                    <a:pt x="193486" y="985775"/>
                  </a:lnTo>
                  <a:cubicBezTo>
                    <a:pt x="157610" y="985775"/>
                    <a:pt x="69012" y="964946"/>
                    <a:pt x="69012" y="929070"/>
                  </a:cubicBezTo>
                  <a:lnTo>
                    <a:pt x="57946" y="718740"/>
                  </a:lnTo>
                  <a:cubicBezTo>
                    <a:pt x="-7278" y="718740"/>
                    <a:pt x="267" y="668405"/>
                    <a:pt x="267" y="603181"/>
                  </a:cubicBezTo>
                  <a:cubicBezTo>
                    <a:pt x="1960" y="422014"/>
                    <a:pt x="6194" y="243386"/>
                    <a:pt x="7887" y="62219"/>
                  </a:cubicBezTo>
                  <a:cubicBezTo>
                    <a:pt x="7887" y="-3005"/>
                    <a:pt x="53142" y="12700"/>
                    <a:pt x="118366" y="1270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1" name="Frihandsfigur: Form 20"/>
            <p:cNvSpPr/>
            <p:nvPr/>
          </p:nvSpPr>
          <p:spPr>
            <a:xfrm flipH="1">
              <a:off x="7236637" y="1734527"/>
              <a:ext cx="301354"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sp>
        <p:nvSpPr>
          <p:cNvPr id="22" name="Båge 21"/>
          <p:cNvSpPr/>
          <p:nvPr/>
        </p:nvSpPr>
        <p:spPr>
          <a:xfrm>
            <a:off x="6450965" y="1172984"/>
            <a:ext cx="1533717" cy="1533717"/>
          </a:xfrm>
          <a:prstGeom prst="arc">
            <a:avLst>
              <a:gd name="adj1" fmla="val 16200000"/>
              <a:gd name="adj2" fmla="val 20279930"/>
            </a:avLst>
          </a:prstGeom>
          <a:ln w="38100">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textruta 22"/>
          <p:cNvSpPr txBox="1"/>
          <p:nvPr/>
        </p:nvSpPr>
        <p:spPr>
          <a:xfrm>
            <a:off x="7570861" y="630367"/>
            <a:ext cx="1288649" cy="646331"/>
          </a:xfrm>
          <a:prstGeom prst="rect">
            <a:avLst/>
          </a:prstGeom>
          <a:noFill/>
        </p:spPr>
        <p:txBody>
          <a:bodyPr wrap="square" rtlCol="0">
            <a:spAutoFit/>
          </a:bodyPr>
          <a:lstStyle/>
          <a:p>
            <a:r>
              <a:rPr lang="en-GB" dirty="0"/>
              <a:t>measured angle</a:t>
            </a:r>
          </a:p>
        </p:txBody>
      </p:sp>
      <p:sp>
        <p:nvSpPr>
          <p:cNvPr id="25" name="textruta 24"/>
          <p:cNvSpPr txBox="1"/>
          <p:nvPr/>
        </p:nvSpPr>
        <p:spPr>
          <a:xfrm>
            <a:off x="5349271" y="3363907"/>
            <a:ext cx="1973580" cy="646331"/>
          </a:xfrm>
          <a:prstGeom prst="rect">
            <a:avLst/>
          </a:prstGeom>
          <a:noFill/>
        </p:spPr>
        <p:txBody>
          <a:bodyPr wrap="square" rtlCol="0">
            <a:spAutoFit/>
          </a:bodyPr>
          <a:lstStyle/>
          <a:p>
            <a:r>
              <a:rPr lang="en-GB" dirty="0" err="1"/>
              <a:t>Comsol</a:t>
            </a:r>
            <a:r>
              <a:rPr lang="en-GB" dirty="0"/>
              <a:t> simulation</a:t>
            </a:r>
          </a:p>
        </p:txBody>
      </p:sp>
      <p:sp>
        <p:nvSpPr>
          <p:cNvPr id="30" name="textruta 29"/>
          <p:cNvSpPr txBox="1"/>
          <p:nvPr/>
        </p:nvSpPr>
        <p:spPr>
          <a:xfrm>
            <a:off x="4995118" y="1954670"/>
            <a:ext cx="1973580" cy="369332"/>
          </a:xfrm>
          <a:prstGeom prst="rect">
            <a:avLst/>
          </a:prstGeom>
          <a:noFill/>
        </p:spPr>
        <p:txBody>
          <a:bodyPr wrap="square" rtlCol="0">
            <a:spAutoFit/>
          </a:bodyPr>
          <a:lstStyle/>
          <a:p>
            <a:r>
              <a:rPr lang="en-GB" dirty="0"/>
              <a:t>Experimental</a:t>
            </a:r>
          </a:p>
        </p:txBody>
      </p:sp>
      <p:sp>
        <p:nvSpPr>
          <p:cNvPr id="28" name="textruta 27"/>
          <p:cNvSpPr txBox="1"/>
          <p:nvPr/>
        </p:nvSpPr>
        <p:spPr>
          <a:xfrm>
            <a:off x="660170" y="5580835"/>
            <a:ext cx="4145280" cy="369332"/>
          </a:xfrm>
          <a:prstGeom prst="rect">
            <a:avLst/>
          </a:prstGeom>
          <a:noFill/>
        </p:spPr>
        <p:txBody>
          <a:bodyPr wrap="square" rtlCol="0">
            <a:spAutoFit/>
          </a:bodyPr>
          <a:lstStyle/>
          <a:p>
            <a:r>
              <a:rPr lang="en-GB" dirty="0"/>
              <a:t>Error bars = range of observed values</a:t>
            </a:r>
          </a:p>
        </p:txBody>
      </p:sp>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0644" y="3422802"/>
            <a:ext cx="3027275" cy="2270456"/>
          </a:xfrm>
          <a:prstGeom prst="rect">
            <a:avLst/>
          </a:prstGeom>
        </p:spPr>
      </p:pic>
    </p:spTree>
    <p:extLst>
      <p:ext uri="{BB962C8B-B14F-4D97-AF65-F5344CB8AC3E}">
        <p14:creationId xmlns:p14="http://schemas.microsoft.com/office/powerpoint/2010/main" val="26214546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Hand parameters: yaw</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8</a:t>
            </a:fld>
            <a:endParaRPr lang="en-GB"/>
          </a:p>
        </p:txBody>
      </p:sp>
      <p:sp>
        <p:nvSpPr>
          <p:cNvPr id="6" name="Platshållare för sidfot 5"/>
          <p:cNvSpPr>
            <a:spLocks noGrp="1"/>
          </p:cNvSpPr>
          <p:nvPr>
            <p:ph type="ftr" sz="quarter" idx="11"/>
          </p:nvPr>
        </p:nvSpPr>
        <p:spPr/>
        <p:txBody>
          <a:bodyPr/>
          <a:lstStyle/>
          <a:p>
            <a:r>
              <a:rPr lang="en-GB"/>
              <a:t>KTH IPT Team</a:t>
            </a:r>
          </a:p>
        </p:txBody>
      </p:sp>
      <p:grpSp>
        <p:nvGrpSpPr>
          <p:cNvPr id="24" name="Grupp 23"/>
          <p:cNvGrpSpPr/>
          <p:nvPr/>
        </p:nvGrpSpPr>
        <p:grpSpPr>
          <a:xfrm>
            <a:off x="-1673326" y="2936314"/>
            <a:ext cx="347180" cy="1527265"/>
            <a:chOff x="6870644" y="1179436"/>
            <a:chExt cx="347180" cy="1527265"/>
          </a:xfrm>
        </p:grpSpPr>
        <p:sp>
          <p:nvSpPr>
            <p:cNvPr id="15" name="Rektangel: rundade hörn 14"/>
            <p:cNvSpPr/>
            <p:nvPr/>
          </p:nvSpPr>
          <p:spPr>
            <a:xfrm>
              <a:off x="7021321" y="1179436"/>
              <a:ext cx="126519"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7" name="Frihandsfigur: Form 16"/>
            <p:cNvSpPr/>
            <p:nvPr/>
          </p:nvSpPr>
          <p:spPr>
            <a:xfrm>
              <a:off x="6979442" y="1720926"/>
              <a:ext cx="238382" cy="98577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6643"/>
                <a:gd name="connsiteY0" fmla="*/ 12700 h 985775"/>
                <a:gd name="connsiteX1" fmla="*/ 479238 w 756643"/>
                <a:gd name="connsiteY1" fmla="*/ 0 h 985775"/>
                <a:gd name="connsiteX2" fmla="*/ 754103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756643"/>
                <a:gd name="connsiteY0" fmla="*/ 12700 h 985775"/>
                <a:gd name="connsiteX1" fmla="*/ 479238 w 756643"/>
                <a:gd name="connsiteY1" fmla="*/ 0 h 985775"/>
                <a:gd name="connsiteX2" fmla="*/ 613124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687057"/>
                <a:gd name="connsiteY0" fmla="*/ 12700 h 985775"/>
                <a:gd name="connsiteX1" fmla="*/ 479238 w 687057"/>
                <a:gd name="connsiteY1" fmla="*/ 0 h 985775"/>
                <a:gd name="connsiteX2" fmla="*/ 613124 w 687057"/>
                <a:gd name="connsiteY2" fmla="*/ 179059 h 985775"/>
                <a:gd name="connsiteX3" fmla="*/ 649230 w 687057"/>
                <a:gd name="connsiteY3" fmla="*/ 427921 h 985775"/>
                <a:gd name="connsiteX4" fmla="*/ 669024 w 687057"/>
                <a:gd name="connsiteY4" fmla="*/ 632380 h 985775"/>
                <a:gd name="connsiteX5" fmla="*/ 588496 w 687057"/>
                <a:gd name="connsiteY5" fmla="*/ 721280 h 985775"/>
                <a:gd name="connsiteX6" fmla="*/ 588496 w 687057"/>
                <a:gd name="connsiteY6" fmla="*/ 917005 h 985775"/>
                <a:gd name="connsiteX7" fmla="*/ 523536 w 687057"/>
                <a:gd name="connsiteY7" fmla="*/ 981965 h 985775"/>
                <a:gd name="connsiteX8" fmla="*/ 193219 w 687057"/>
                <a:gd name="connsiteY8" fmla="*/ 985775 h 985775"/>
                <a:gd name="connsiteX9" fmla="*/ 135879 w 687057"/>
                <a:gd name="connsiteY9" fmla="*/ 926530 h 985775"/>
                <a:gd name="connsiteX10" fmla="*/ 118099 w 687057"/>
                <a:gd name="connsiteY10" fmla="*/ 721280 h 985775"/>
                <a:gd name="connsiteX11" fmla="*/ 0 w 687057"/>
                <a:gd name="connsiteY11" fmla="*/ 603181 h 985775"/>
                <a:gd name="connsiteX12" fmla="*/ 7620 w 687057"/>
                <a:gd name="connsiteY12" fmla="*/ 62219 h 985775"/>
                <a:gd name="connsiteX13" fmla="*/ 118099 w 687057"/>
                <a:gd name="connsiteY13" fmla="*/ 12700 h 985775"/>
                <a:gd name="connsiteX0" fmla="*/ 118099 w 684147"/>
                <a:gd name="connsiteY0" fmla="*/ 12700 h 985775"/>
                <a:gd name="connsiteX1" fmla="*/ 479238 w 684147"/>
                <a:gd name="connsiteY1" fmla="*/ 0 h 985775"/>
                <a:gd name="connsiteX2" fmla="*/ 613124 w 684147"/>
                <a:gd name="connsiteY2" fmla="*/ 179059 h 985775"/>
                <a:gd name="connsiteX3" fmla="*/ 629090 w 684147"/>
                <a:gd name="connsiteY3" fmla="*/ 425381 h 985775"/>
                <a:gd name="connsiteX4" fmla="*/ 669024 w 684147"/>
                <a:gd name="connsiteY4" fmla="*/ 632380 h 985775"/>
                <a:gd name="connsiteX5" fmla="*/ 588496 w 684147"/>
                <a:gd name="connsiteY5" fmla="*/ 721280 h 985775"/>
                <a:gd name="connsiteX6" fmla="*/ 588496 w 684147"/>
                <a:gd name="connsiteY6" fmla="*/ 917005 h 985775"/>
                <a:gd name="connsiteX7" fmla="*/ 523536 w 684147"/>
                <a:gd name="connsiteY7" fmla="*/ 981965 h 985775"/>
                <a:gd name="connsiteX8" fmla="*/ 193219 w 684147"/>
                <a:gd name="connsiteY8" fmla="*/ 985775 h 985775"/>
                <a:gd name="connsiteX9" fmla="*/ 135879 w 684147"/>
                <a:gd name="connsiteY9" fmla="*/ 926530 h 985775"/>
                <a:gd name="connsiteX10" fmla="*/ 118099 w 684147"/>
                <a:gd name="connsiteY10" fmla="*/ 721280 h 985775"/>
                <a:gd name="connsiteX11" fmla="*/ 0 w 684147"/>
                <a:gd name="connsiteY11" fmla="*/ 603181 h 985775"/>
                <a:gd name="connsiteX12" fmla="*/ 7620 w 684147"/>
                <a:gd name="connsiteY12" fmla="*/ 62219 h 985775"/>
                <a:gd name="connsiteX13" fmla="*/ 118099 w 684147"/>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136146 w 684414"/>
                <a:gd name="connsiteY9" fmla="*/ 92653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69012 w 684414"/>
                <a:gd name="connsiteY9" fmla="*/ 92907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30052"/>
                <a:gd name="connsiteY0" fmla="*/ 12700 h 985775"/>
                <a:gd name="connsiteX1" fmla="*/ 479505 w 630052"/>
                <a:gd name="connsiteY1" fmla="*/ 0 h 985775"/>
                <a:gd name="connsiteX2" fmla="*/ 613391 w 630052"/>
                <a:gd name="connsiteY2" fmla="*/ 179059 h 985775"/>
                <a:gd name="connsiteX3" fmla="*/ 629357 w 630052"/>
                <a:gd name="connsiteY3" fmla="*/ 425381 h 985775"/>
                <a:gd name="connsiteX4" fmla="*/ 588731 w 630052"/>
                <a:gd name="connsiteY4" fmla="*/ 622220 h 985775"/>
                <a:gd name="connsiteX5" fmla="*/ 588763 w 630052"/>
                <a:gd name="connsiteY5" fmla="*/ 721280 h 985775"/>
                <a:gd name="connsiteX6" fmla="*/ 588763 w 630052"/>
                <a:gd name="connsiteY6" fmla="*/ 917005 h 985775"/>
                <a:gd name="connsiteX7" fmla="*/ 523803 w 630052"/>
                <a:gd name="connsiteY7" fmla="*/ 981965 h 985775"/>
                <a:gd name="connsiteX8" fmla="*/ 193486 w 630052"/>
                <a:gd name="connsiteY8" fmla="*/ 985775 h 985775"/>
                <a:gd name="connsiteX9" fmla="*/ 69012 w 630052"/>
                <a:gd name="connsiteY9" fmla="*/ 929070 h 985775"/>
                <a:gd name="connsiteX10" fmla="*/ 57946 w 630052"/>
                <a:gd name="connsiteY10" fmla="*/ 718740 h 985775"/>
                <a:gd name="connsiteX11" fmla="*/ 267 w 630052"/>
                <a:gd name="connsiteY11" fmla="*/ 603181 h 985775"/>
                <a:gd name="connsiteX12" fmla="*/ 7887 w 630052"/>
                <a:gd name="connsiteY12" fmla="*/ 62219 h 985775"/>
                <a:gd name="connsiteX13" fmla="*/ 118366 w 630052"/>
                <a:gd name="connsiteY13" fmla="*/ 12700 h 9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052" h="985775">
                  <a:moveTo>
                    <a:pt x="118366" y="12700"/>
                  </a:moveTo>
                  <a:lnTo>
                    <a:pt x="479505" y="0"/>
                  </a:lnTo>
                  <a:cubicBezTo>
                    <a:pt x="544729" y="0"/>
                    <a:pt x="613391" y="113835"/>
                    <a:pt x="613391" y="179059"/>
                  </a:cubicBezTo>
                  <a:cubicBezTo>
                    <a:pt x="614238" y="274713"/>
                    <a:pt x="628510" y="329727"/>
                    <a:pt x="629357" y="425381"/>
                  </a:cubicBezTo>
                  <a:cubicBezTo>
                    <a:pt x="629357" y="490605"/>
                    <a:pt x="638715" y="551100"/>
                    <a:pt x="588731" y="622220"/>
                  </a:cubicBezTo>
                  <a:cubicBezTo>
                    <a:pt x="588742" y="655240"/>
                    <a:pt x="588752" y="688260"/>
                    <a:pt x="588763" y="721280"/>
                  </a:cubicBezTo>
                  <a:lnTo>
                    <a:pt x="588763" y="917005"/>
                  </a:lnTo>
                  <a:cubicBezTo>
                    <a:pt x="588763" y="952881"/>
                    <a:pt x="559679" y="981965"/>
                    <a:pt x="523803" y="981965"/>
                  </a:cubicBezTo>
                  <a:lnTo>
                    <a:pt x="193486" y="985775"/>
                  </a:lnTo>
                  <a:cubicBezTo>
                    <a:pt x="157610" y="985775"/>
                    <a:pt x="69012" y="964946"/>
                    <a:pt x="69012" y="929070"/>
                  </a:cubicBezTo>
                  <a:lnTo>
                    <a:pt x="57946" y="718740"/>
                  </a:lnTo>
                  <a:cubicBezTo>
                    <a:pt x="-7278" y="718740"/>
                    <a:pt x="267" y="668405"/>
                    <a:pt x="267" y="603181"/>
                  </a:cubicBezTo>
                  <a:cubicBezTo>
                    <a:pt x="1960" y="422014"/>
                    <a:pt x="6194" y="243386"/>
                    <a:pt x="7887" y="62219"/>
                  </a:cubicBezTo>
                  <a:cubicBezTo>
                    <a:pt x="7887" y="-3005"/>
                    <a:pt x="53142" y="12700"/>
                    <a:pt x="118366" y="1270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8" name="Frihandsfigur: Form 17"/>
            <p:cNvSpPr/>
            <p:nvPr/>
          </p:nvSpPr>
          <p:spPr>
            <a:xfrm flipH="1">
              <a:off x="6870644" y="1736240"/>
              <a:ext cx="301354"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pSp>
      <p:sp>
        <p:nvSpPr>
          <p:cNvPr id="22" name="Båge 21"/>
          <p:cNvSpPr/>
          <p:nvPr/>
        </p:nvSpPr>
        <p:spPr>
          <a:xfrm>
            <a:off x="7644316" y="2723681"/>
            <a:ext cx="1156060" cy="1156060"/>
          </a:xfrm>
          <a:prstGeom prst="arc">
            <a:avLst>
              <a:gd name="adj1" fmla="val 11886064"/>
              <a:gd name="adj2" fmla="val 14388348"/>
            </a:avLst>
          </a:prstGeom>
          <a:ln w="19050">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textruta 22"/>
          <p:cNvSpPr txBox="1"/>
          <p:nvPr/>
        </p:nvSpPr>
        <p:spPr>
          <a:xfrm>
            <a:off x="6732504" y="2122062"/>
            <a:ext cx="1298743" cy="646331"/>
          </a:xfrm>
          <a:prstGeom prst="rect">
            <a:avLst/>
          </a:prstGeom>
          <a:noFill/>
        </p:spPr>
        <p:txBody>
          <a:bodyPr wrap="square" rtlCol="0">
            <a:spAutoFit/>
          </a:bodyPr>
          <a:lstStyle/>
          <a:p>
            <a:r>
              <a:rPr lang="en-GB" dirty="0"/>
              <a:t>measured angle</a:t>
            </a:r>
          </a:p>
        </p:txBody>
      </p:sp>
      <p:graphicFrame>
        <p:nvGraphicFramePr>
          <p:cNvPr id="28" name="Diagram 27">
            <a:extLst>
              <a:ext uri="{FF2B5EF4-FFF2-40B4-BE49-F238E27FC236}">
                <a16:creationId xmlns:a16="http://schemas.microsoft.com/office/drawing/2014/main" id="{4B7CB440-12C2-4FBC-AE8B-3A4483DE5706}"/>
              </a:ext>
            </a:extLst>
          </p:cNvPr>
          <p:cNvGraphicFramePr>
            <a:graphicFrameLocks/>
          </p:cNvGraphicFramePr>
          <p:nvPr>
            <p:extLst>
              <p:ext uri="{D42A27DB-BD31-4B8C-83A1-F6EECF244321}">
                <p14:modId xmlns:p14="http://schemas.microsoft.com/office/powerpoint/2010/main" val="2782644313"/>
              </p:ext>
            </p:extLst>
          </p:nvPr>
        </p:nvGraphicFramePr>
        <p:xfrm>
          <a:off x="243780" y="1179436"/>
          <a:ext cx="6354520" cy="4527944"/>
        </p:xfrm>
        <a:graphic>
          <a:graphicData uri="http://schemas.openxmlformats.org/drawingml/2006/chart">
            <c:chart xmlns:c="http://schemas.openxmlformats.org/drawingml/2006/chart" xmlns:r="http://schemas.openxmlformats.org/officeDocument/2006/relationships" r:id="rId3"/>
          </a:graphicData>
        </a:graphic>
      </p:graphicFrame>
      <p:sp>
        <p:nvSpPr>
          <p:cNvPr id="29" name="Rektangel: rundade hörn 28"/>
          <p:cNvSpPr/>
          <p:nvPr/>
        </p:nvSpPr>
        <p:spPr>
          <a:xfrm>
            <a:off x="-1605716" y="587851"/>
            <a:ext cx="160988" cy="7112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31" name="Rektangel: rundade hörn 30"/>
          <p:cNvSpPr/>
          <p:nvPr/>
        </p:nvSpPr>
        <p:spPr>
          <a:xfrm>
            <a:off x="-1412336" y="587851"/>
            <a:ext cx="172380" cy="7112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32" name="Rektangel: rundade hörn 31"/>
          <p:cNvSpPr/>
          <p:nvPr/>
        </p:nvSpPr>
        <p:spPr>
          <a:xfrm>
            <a:off x="-1804046" y="726397"/>
            <a:ext cx="165938"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33" name="Rektangel: rundade hörn 32"/>
          <p:cNvSpPr/>
          <p:nvPr/>
        </p:nvSpPr>
        <p:spPr>
          <a:xfrm>
            <a:off x="-1210538" y="876579"/>
            <a:ext cx="126411" cy="42247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34" name="Frihandsfigur: Form 33"/>
          <p:cNvSpPr/>
          <p:nvPr/>
        </p:nvSpPr>
        <p:spPr>
          <a:xfrm>
            <a:off x="-1822835" y="1210336"/>
            <a:ext cx="756643" cy="98069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6643" h="980695">
                <a:moveTo>
                  <a:pt x="118099" y="7620"/>
                </a:moveTo>
                <a:lnTo>
                  <a:pt x="653784" y="0"/>
                </a:lnTo>
                <a:cubicBezTo>
                  <a:pt x="719008" y="0"/>
                  <a:pt x="754103" y="108755"/>
                  <a:pt x="754103" y="173979"/>
                </a:cubicBezTo>
                <a:cubicBezTo>
                  <a:pt x="754950" y="269633"/>
                  <a:pt x="755796" y="324647"/>
                  <a:pt x="756643" y="420301"/>
                </a:cubicBezTo>
                <a:cubicBezTo>
                  <a:pt x="756643" y="485525"/>
                  <a:pt x="719008" y="556180"/>
                  <a:pt x="669024" y="627300"/>
                </a:cubicBezTo>
                <a:lnTo>
                  <a:pt x="588496" y="716200"/>
                </a:lnTo>
                <a:lnTo>
                  <a:pt x="588496" y="911925"/>
                </a:lnTo>
                <a:cubicBezTo>
                  <a:pt x="588496" y="947801"/>
                  <a:pt x="559412" y="976885"/>
                  <a:pt x="523536" y="976885"/>
                </a:cubicBezTo>
                <a:lnTo>
                  <a:pt x="193219" y="980695"/>
                </a:lnTo>
                <a:cubicBezTo>
                  <a:pt x="157343" y="980695"/>
                  <a:pt x="135879" y="957326"/>
                  <a:pt x="135879" y="921450"/>
                </a:cubicBezTo>
                <a:lnTo>
                  <a:pt x="118099" y="716200"/>
                </a:lnTo>
                <a:cubicBezTo>
                  <a:pt x="52875" y="716200"/>
                  <a:pt x="0" y="663325"/>
                  <a:pt x="0" y="598101"/>
                </a:cubicBezTo>
                <a:cubicBezTo>
                  <a:pt x="1693" y="416934"/>
                  <a:pt x="5927" y="238306"/>
                  <a:pt x="7620" y="57139"/>
                </a:cubicBezTo>
                <a:cubicBezTo>
                  <a:pt x="7620" y="-8085"/>
                  <a:pt x="52875" y="7620"/>
                  <a:pt x="118099" y="762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35" name="Frihandsfigur: Form 34"/>
          <p:cNvSpPr/>
          <p:nvPr/>
        </p:nvSpPr>
        <p:spPr>
          <a:xfrm>
            <a:off x="-2039955" y="1273121"/>
            <a:ext cx="409378"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cxnSp>
        <p:nvCxnSpPr>
          <p:cNvPr id="8" name="Rak pilkoppling 7"/>
          <p:cNvCxnSpPr/>
          <p:nvPr/>
        </p:nvCxnSpPr>
        <p:spPr>
          <a:xfrm flipV="1">
            <a:off x="8222348" y="2675954"/>
            <a:ext cx="0" cy="16449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 name="Rak pilkoppling 9"/>
          <p:cNvCxnSpPr/>
          <p:nvPr/>
        </p:nvCxnSpPr>
        <p:spPr>
          <a:xfrm flipH="1">
            <a:off x="7381876" y="3387154"/>
            <a:ext cx="1531620" cy="94884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Rak pilkoppling 12"/>
          <p:cNvCxnSpPr/>
          <p:nvPr/>
        </p:nvCxnSpPr>
        <p:spPr>
          <a:xfrm>
            <a:off x="7552249" y="3825463"/>
            <a:ext cx="2125980" cy="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7942002" y="2756027"/>
            <a:ext cx="284211" cy="1040072"/>
          </a:xfrm>
          <a:custGeom>
            <a:avLst/>
            <a:gdLst>
              <a:gd name="connsiteX0" fmla="*/ 0 w 484947"/>
              <a:gd name="connsiteY0" fmla="*/ 0 h 786072"/>
              <a:gd name="connsiteX1" fmla="*/ 484947 w 484947"/>
              <a:gd name="connsiteY1" fmla="*/ 0 h 786072"/>
              <a:gd name="connsiteX2" fmla="*/ 484947 w 484947"/>
              <a:gd name="connsiteY2" fmla="*/ 786072 h 786072"/>
              <a:gd name="connsiteX3" fmla="*/ 0 w 484947"/>
              <a:gd name="connsiteY3" fmla="*/ 786072 h 786072"/>
              <a:gd name="connsiteX4" fmla="*/ 0 w 484947"/>
              <a:gd name="connsiteY4" fmla="*/ 0 h 786072"/>
              <a:gd name="connsiteX0" fmla="*/ 0 w 490027"/>
              <a:gd name="connsiteY0" fmla="*/ 0 h 786072"/>
              <a:gd name="connsiteX1" fmla="*/ 490027 w 490027"/>
              <a:gd name="connsiteY1" fmla="*/ 213360 h 786072"/>
              <a:gd name="connsiteX2" fmla="*/ 484947 w 490027"/>
              <a:gd name="connsiteY2" fmla="*/ 786072 h 786072"/>
              <a:gd name="connsiteX3" fmla="*/ 0 w 490027"/>
              <a:gd name="connsiteY3" fmla="*/ 786072 h 786072"/>
              <a:gd name="connsiteX4" fmla="*/ 0 w 490027"/>
              <a:gd name="connsiteY4" fmla="*/ 0 h 786072"/>
              <a:gd name="connsiteX0" fmla="*/ 0 w 495332"/>
              <a:gd name="connsiteY0" fmla="*/ 0 h 989272"/>
              <a:gd name="connsiteX1" fmla="*/ 490027 w 495332"/>
              <a:gd name="connsiteY1" fmla="*/ 213360 h 989272"/>
              <a:gd name="connsiteX2" fmla="*/ 495107 w 495332"/>
              <a:gd name="connsiteY2" fmla="*/ 989272 h 989272"/>
              <a:gd name="connsiteX3" fmla="*/ 0 w 495332"/>
              <a:gd name="connsiteY3" fmla="*/ 786072 h 989272"/>
              <a:gd name="connsiteX4" fmla="*/ 0 w 495332"/>
              <a:gd name="connsiteY4" fmla="*/ 0 h 989272"/>
              <a:gd name="connsiteX0" fmla="*/ 213360 w 495332"/>
              <a:gd name="connsiteY0" fmla="*/ 0 h 1040072"/>
              <a:gd name="connsiteX1" fmla="*/ 490027 w 495332"/>
              <a:gd name="connsiteY1" fmla="*/ 264160 h 1040072"/>
              <a:gd name="connsiteX2" fmla="*/ 495107 w 495332"/>
              <a:gd name="connsiteY2" fmla="*/ 1040072 h 1040072"/>
              <a:gd name="connsiteX3" fmla="*/ 0 w 495332"/>
              <a:gd name="connsiteY3" fmla="*/ 836872 h 1040072"/>
              <a:gd name="connsiteX4" fmla="*/ 213360 w 495332"/>
              <a:gd name="connsiteY4" fmla="*/ 0 h 1040072"/>
              <a:gd name="connsiteX0" fmla="*/ 40640 w 322612"/>
              <a:gd name="connsiteY0" fmla="*/ 0 h 1040072"/>
              <a:gd name="connsiteX1" fmla="*/ 317307 w 322612"/>
              <a:gd name="connsiteY1" fmla="*/ 264160 h 1040072"/>
              <a:gd name="connsiteX2" fmla="*/ 322387 w 322612"/>
              <a:gd name="connsiteY2" fmla="*/ 1040072 h 1040072"/>
              <a:gd name="connsiteX3" fmla="*/ 0 w 322612"/>
              <a:gd name="connsiteY3" fmla="*/ 847032 h 1040072"/>
              <a:gd name="connsiteX4" fmla="*/ 40640 w 322612"/>
              <a:gd name="connsiteY4" fmla="*/ 0 h 1040072"/>
              <a:gd name="connsiteX0" fmla="*/ 0 w 281972"/>
              <a:gd name="connsiteY0" fmla="*/ 0 h 1040072"/>
              <a:gd name="connsiteX1" fmla="*/ 276667 w 281972"/>
              <a:gd name="connsiteY1" fmla="*/ 264160 h 1040072"/>
              <a:gd name="connsiteX2" fmla="*/ 281747 w 281972"/>
              <a:gd name="connsiteY2" fmla="*/ 1040072 h 1040072"/>
              <a:gd name="connsiteX3" fmla="*/ 25400 w 281972"/>
              <a:gd name="connsiteY3" fmla="*/ 852112 h 1040072"/>
              <a:gd name="connsiteX4" fmla="*/ 0 w 281972"/>
              <a:gd name="connsiteY4" fmla="*/ 0 h 1040072"/>
              <a:gd name="connsiteX0" fmla="*/ 22559 w 304531"/>
              <a:gd name="connsiteY0" fmla="*/ 0 h 1040072"/>
              <a:gd name="connsiteX1" fmla="*/ 299226 w 304531"/>
              <a:gd name="connsiteY1" fmla="*/ 264160 h 1040072"/>
              <a:gd name="connsiteX2" fmla="*/ 304306 w 304531"/>
              <a:gd name="connsiteY2" fmla="*/ 1040072 h 1040072"/>
              <a:gd name="connsiteX3" fmla="*/ 47959 w 304531"/>
              <a:gd name="connsiteY3" fmla="*/ 852112 h 1040072"/>
              <a:gd name="connsiteX4" fmla="*/ 0 w 304531"/>
              <a:gd name="connsiteY4" fmla="*/ 826712 h 1040072"/>
              <a:gd name="connsiteX5" fmla="*/ 22559 w 304531"/>
              <a:gd name="connsiteY5" fmla="*/ 0 h 1040072"/>
              <a:gd name="connsiteX0" fmla="*/ 2239 w 284211"/>
              <a:gd name="connsiteY0" fmla="*/ 0 h 1040072"/>
              <a:gd name="connsiteX1" fmla="*/ 278906 w 284211"/>
              <a:gd name="connsiteY1" fmla="*/ 264160 h 1040072"/>
              <a:gd name="connsiteX2" fmla="*/ 283986 w 284211"/>
              <a:gd name="connsiteY2" fmla="*/ 1040072 h 1040072"/>
              <a:gd name="connsiteX3" fmla="*/ 27639 w 284211"/>
              <a:gd name="connsiteY3" fmla="*/ 852112 h 1040072"/>
              <a:gd name="connsiteX4" fmla="*/ 0 w 284211"/>
              <a:gd name="connsiteY4" fmla="*/ 836872 h 1040072"/>
              <a:gd name="connsiteX5" fmla="*/ 2239 w 284211"/>
              <a:gd name="connsiteY5" fmla="*/ 0 h 104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211" h="1040072">
                <a:moveTo>
                  <a:pt x="2239" y="0"/>
                </a:moveTo>
                <a:lnTo>
                  <a:pt x="278906" y="264160"/>
                </a:lnTo>
                <a:cubicBezTo>
                  <a:pt x="277213" y="455064"/>
                  <a:pt x="285679" y="849168"/>
                  <a:pt x="283986" y="1040072"/>
                </a:cubicBezTo>
                <a:lnTo>
                  <a:pt x="27639" y="852112"/>
                </a:lnTo>
                <a:cubicBezTo>
                  <a:pt x="23506" y="838565"/>
                  <a:pt x="4133" y="850419"/>
                  <a:pt x="0" y="836872"/>
                </a:cubicBezTo>
                <a:cubicBezTo>
                  <a:pt x="746" y="557915"/>
                  <a:pt x="1493" y="278957"/>
                  <a:pt x="2239"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38" name="Rektangel 13"/>
          <p:cNvSpPr/>
          <p:nvPr/>
        </p:nvSpPr>
        <p:spPr>
          <a:xfrm>
            <a:off x="7670684" y="3071652"/>
            <a:ext cx="551663" cy="933392"/>
          </a:xfrm>
          <a:custGeom>
            <a:avLst/>
            <a:gdLst>
              <a:gd name="connsiteX0" fmla="*/ 0 w 484947"/>
              <a:gd name="connsiteY0" fmla="*/ 0 h 786072"/>
              <a:gd name="connsiteX1" fmla="*/ 484947 w 484947"/>
              <a:gd name="connsiteY1" fmla="*/ 0 h 786072"/>
              <a:gd name="connsiteX2" fmla="*/ 484947 w 484947"/>
              <a:gd name="connsiteY2" fmla="*/ 786072 h 786072"/>
              <a:gd name="connsiteX3" fmla="*/ 0 w 484947"/>
              <a:gd name="connsiteY3" fmla="*/ 786072 h 786072"/>
              <a:gd name="connsiteX4" fmla="*/ 0 w 484947"/>
              <a:gd name="connsiteY4" fmla="*/ 0 h 786072"/>
              <a:gd name="connsiteX0" fmla="*/ 0 w 490027"/>
              <a:gd name="connsiteY0" fmla="*/ 0 h 786072"/>
              <a:gd name="connsiteX1" fmla="*/ 490027 w 490027"/>
              <a:gd name="connsiteY1" fmla="*/ 213360 h 786072"/>
              <a:gd name="connsiteX2" fmla="*/ 484947 w 490027"/>
              <a:gd name="connsiteY2" fmla="*/ 786072 h 786072"/>
              <a:gd name="connsiteX3" fmla="*/ 0 w 490027"/>
              <a:gd name="connsiteY3" fmla="*/ 786072 h 786072"/>
              <a:gd name="connsiteX4" fmla="*/ 0 w 490027"/>
              <a:gd name="connsiteY4" fmla="*/ 0 h 786072"/>
              <a:gd name="connsiteX0" fmla="*/ 0 w 495332"/>
              <a:gd name="connsiteY0" fmla="*/ 0 h 989272"/>
              <a:gd name="connsiteX1" fmla="*/ 490027 w 495332"/>
              <a:gd name="connsiteY1" fmla="*/ 213360 h 989272"/>
              <a:gd name="connsiteX2" fmla="*/ 495107 w 495332"/>
              <a:gd name="connsiteY2" fmla="*/ 989272 h 989272"/>
              <a:gd name="connsiteX3" fmla="*/ 0 w 495332"/>
              <a:gd name="connsiteY3" fmla="*/ 786072 h 989272"/>
              <a:gd name="connsiteX4" fmla="*/ 0 w 495332"/>
              <a:gd name="connsiteY4" fmla="*/ 0 h 989272"/>
              <a:gd name="connsiteX0" fmla="*/ 0 w 495332"/>
              <a:gd name="connsiteY0" fmla="*/ 0 h 1151832"/>
              <a:gd name="connsiteX1" fmla="*/ 490027 w 495332"/>
              <a:gd name="connsiteY1" fmla="*/ 213360 h 1151832"/>
              <a:gd name="connsiteX2" fmla="*/ 495107 w 495332"/>
              <a:gd name="connsiteY2" fmla="*/ 989272 h 1151832"/>
              <a:gd name="connsiteX3" fmla="*/ 10160 w 495332"/>
              <a:gd name="connsiteY3" fmla="*/ 1151832 h 1151832"/>
              <a:gd name="connsiteX4" fmla="*/ 0 w 495332"/>
              <a:gd name="connsiteY4" fmla="*/ 0 h 1151832"/>
              <a:gd name="connsiteX0" fmla="*/ 5696 w 485788"/>
              <a:gd name="connsiteY0" fmla="*/ 45720 h 938472"/>
              <a:gd name="connsiteX1" fmla="*/ 480483 w 485788"/>
              <a:gd name="connsiteY1" fmla="*/ 0 h 938472"/>
              <a:gd name="connsiteX2" fmla="*/ 485563 w 485788"/>
              <a:gd name="connsiteY2" fmla="*/ 775912 h 938472"/>
              <a:gd name="connsiteX3" fmla="*/ 616 w 485788"/>
              <a:gd name="connsiteY3" fmla="*/ 938472 h 938472"/>
              <a:gd name="connsiteX4" fmla="*/ 5696 w 485788"/>
              <a:gd name="connsiteY4" fmla="*/ 45720 h 938472"/>
              <a:gd name="connsiteX0" fmla="*/ 0 w 541052"/>
              <a:gd name="connsiteY0" fmla="*/ 76200 h 938472"/>
              <a:gd name="connsiteX1" fmla="*/ 535747 w 541052"/>
              <a:gd name="connsiteY1" fmla="*/ 0 h 938472"/>
              <a:gd name="connsiteX2" fmla="*/ 540827 w 541052"/>
              <a:gd name="connsiteY2" fmla="*/ 775912 h 938472"/>
              <a:gd name="connsiteX3" fmla="*/ 55880 w 541052"/>
              <a:gd name="connsiteY3" fmla="*/ 938472 h 938472"/>
              <a:gd name="connsiteX4" fmla="*/ 0 w 541052"/>
              <a:gd name="connsiteY4" fmla="*/ 76200 h 938472"/>
              <a:gd name="connsiteX0" fmla="*/ 20613 w 561665"/>
              <a:gd name="connsiteY0" fmla="*/ 76200 h 918152"/>
              <a:gd name="connsiteX1" fmla="*/ 556360 w 561665"/>
              <a:gd name="connsiteY1" fmla="*/ 0 h 918152"/>
              <a:gd name="connsiteX2" fmla="*/ 561440 w 561665"/>
              <a:gd name="connsiteY2" fmla="*/ 775912 h 918152"/>
              <a:gd name="connsiteX3" fmla="*/ 293 w 561665"/>
              <a:gd name="connsiteY3" fmla="*/ 918152 h 918152"/>
              <a:gd name="connsiteX4" fmla="*/ 20613 w 561665"/>
              <a:gd name="connsiteY4" fmla="*/ 76200 h 918152"/>
              <a:gd name="connsiteX0" fmla="*/ 10611 w 551663"/>
              <a:gd name="connsiteY0" fmla="*/ 76200 h 933392"/>
              <a:gd name="connsiteX1" fmla="*/ 546358 w 551663"/>
              <a:gd name="connsiteY1" fmla="*/ 0 h 933392"/>
              <a:gd name="connsiteX2" fmla="*/ 551438 w 551663"/>
              <a:gd name="connsiteY2" fmla="*/ 775912 h 933392"/>
              <a:gd name="connsiteX3" fmla="*/ 451 w 551663"/>
              <a:gd name="connsiteY3" fmla="*/ 933392 h 933392"/>
              <a:gd name="connsiteX4" fmla="*/ 10611 w 551663"/>
              <a:gd name="connsiteY4" fmla="*/ 76200 h 933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663" h="933392">
                <a:moveTo>
                  <a:pt x="10611" y="76200"/>
                </a:moveTo>
                <a:lnTo>
                  <a:pt x="546358" y="0"/>
                </a:lnTo>
                <a:cubicBezTo>
                  <a:pt x="544665" y="190904"/>
                  <a:pt x="553131" y="585008"/>
                  <a:pt x="551438" y="775912"/>
                </a:cubicBezTo>
                <a:lnTo>
                  <a:pt x="451" y="933392"/>
                </a:lnTo>
                <a:cubicBezTo>
                  <a:pt x="-2936" y="549448"/>
                  <a:pt x="13998" y="460144"/>
                  <a:pt x="10611" y="76200"/>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42" name="textruta 41"/>
          <p:cNvSpPr txBox="1"/>
          <p:nvPr/>
        </p:nvSpPr>
        <p:spPr>
          <a:xfrm>
            <a:off x="7105236" y="4463579"/>
            <a:ext cx="362364" cy="369332"/>
          </a:xfrm>
          <a:prstGeom prst="rect">
            <a:avLst/>
          </a:prstGeom>
          <a:noFill/>
          <a:ln>
            <a:noFill/>
          </a:ln>
        </p:spPr>
        <p:txBody>
          <a:bodyPr wrap="square" rtlCol="0">
            <a:spAutoFit/>
          </a:bodyPr>
          <a:lstStyle/>
          <a:p>
            <a:r>
              <a:rPr lang="en-GB" dirty="0">
                <a:solidFill>
                  <a:srgbClr val="FF0000"/>
                </a:solidFill>
              </a:rPr>
              <a:t>x</a:t>
            </a:r>
          </a:p>
        </p:txBody>
      </p:sp>
      <p:sp>
        <p:nvSpPr>
          <p:cNvPr id="43" name="textruta 42"/>
          <p:cNvSpPr txBox="1"/>
          <p:nvPr/>
        </p:nvSpPr>
        <p:spPr>
          <a:xfrm>
            <a:off x="8722227" y="3879741"/>
            <a:ext cx="362364" cy="369332"/>
          </a:xfrm>
          <a:prstGeom prst="rect">
            <a:avLst/>
          </a:prstGeom>
          <a:noFill/>
          <a:ln>
            <a:noFill/>
          </a:ln>
        </p:spPr>
        <p:txBody>
          <a:bodyPr wrap="square" rtlCol="0">
            <a:spAutoFit/>
          </a:bodyPr>
          <a:lstStyle/>
          <a:p>
            <a:r>
              <a:rPr lang="en-GB" dirty="0">
                <a:solidFill>
                  <a:schemeClr val="accent3"/>
                </a:solidFill>
              </a:rPr>
              <a:t>y</a:t>
            </a:r>
          </a:p>
        </p:txBody>
      </p:sp>
      <p:sp>
        <p:nvSpPr>
          <p:cNvPr id="44" name="textruta 43"/>
          <p:cNvSpPr txBox="1"/>
          <p:nvPr/>
        </p:nvSpPr>
        <p:spPr>
          <a:xfrm>
            <a:off x="8080240" y="2186265"/>
            <a:ext cx="362364" cy="369332"/>
          </a:xfrm>
          <a:prstGeom prst="rect">
            <a:avLst/>
          </a:prstGeom>
          <a:noFill/>
          <a:ln>
            <a:noFill/>
          </a:ln>
        </p:spPr>
        <p:txBody>
          <a:bodyPr wrap="square" rtlCol="0">
            <a:spAutoFit/>
          </a:bodyPr>
          <a:lstStyle/>
          <a:p>
            <a:r>
              <a:rPr lang="en-GB" dirty="0">
                <a:solidFill>
                  <a:schemeClr val="accent1"/>
                </a:solidFill>
              </a:rPr>
              <a:t>z</a:t>
            </a:r>
          </a:p>
        </p:txBody>
      </p:sp>
      <p:grpSp>
        <p:nvGrpSpPr>
          <p:cNvPr id="51" name="Grupp 50"/>
          <p:cNvGrpSpPr/>
          <p:nvPr/>
        </p:nvGrpSpPr>
        <p:grpSpPr>
          <a:xfrm>
            <a:off x="-2843872" y="4442343"/>
            <a:ext cx="2539144" cy="2646646"/>
            <a:chOff x="-2802300" y="3698654"/>
            <a:chExt cx="2539144" cy="2646646"/>
          </a:xfrm>
        </p:grpSpPr>
        <p:cxnSp>
          <p:nvCxnSpPr>
            <p:cNvPr id="39" name="Rak pilkoppling 38"/>
            <p:cNvCxnSpPr/>
            <p:nvPr/>
          </p:nvCxnSpPr>
          <p:spPr>
            <a:xfrm flipV="1">
              <a:off x="-1719037" y="4215194"/>
              <a:ext cx="0" cy="16449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Rak pilkoppling 39"/>
            <p:cNvCxnSpPr/>
            <p:nvPr/>
          </p:nvCxnSpPr>
          <p:spPr>
            <a:xfrm flipH="1">
              <a:off x="-2559509" y="4926394"/>
              <a:ext cx="1531620" cy="94884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Rak pilkoppling 40"/>
            <p:cNvCxnSpPr/>
            <p:nvPr/>
          </p:nvCxnSpPr>
          <p:spPr>
            <a:xfrm>
              <a:off x="-2389136" y="5364703"/>
              <a:ext cx="2125980" cy="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8" name="textruta 47"/>
            <p:cNvSpPr txBox="1"/>
            <p:nvPr/>
          </p:nvSpPr>
          <p:spPr>
            <a:xfrm>
              <a:off x="-2802300" y="5975968"/>
              <a:ext cx="362364" cy="369332"/>
            </a:xfrm>
            <a:prstGeom prst="rect">
              <a:avLst/>
            </a:prstGeom>
            <a:noFill/>
            <a:ln>
              <a:noFill/>
            </a:ln>
          </p:spPr>
          <p:txBody>
            <a:bodyPr wrap="square" rtlCol="0">
              <a:spAutoFit/>
            </a:bodyPr>
            <a:lstStyle/>
            <a:p>
              <a:r>
                <a:rPr lang="en-GB" dirty="0">
                  <a:solidFill>
                    <a:srgbClr val="FF0000"/>
                  </a:solidFill>
                </a:rPr>
                <a:t>x</a:t>
              </a:r>
            </a:p>
          </p:txBody>
        </p:sp>
        <p:sp>
          <p:nvSpPr>
            <p:cNvPr id="49" name="textruta 48"/>
            <p:cNvSpPr txBox="1"/>
            <p:nvPr/>
          </p:nvSpPr>
          <p:spPr>
            <a:xfrm>
              <a:off x="-1185309" y="5392130"/>
              <a:ext cx="362364" cy="369332"/>
            </a:xfrm>
            <a:prstGeom prst="rect">
              <a:avLst/>
            </a:prstGeom>
            <a:noFill/>
            <a:ln>
              <a:noFill/>
            </a:ln>
          </p:spPr>
          <p:txBody>
            <a:bodyPr wrap="square" rtlCol="0">
              <a:spAutoFit/>
            </a:bodyPr>
            <a:lstStyle/>
            <a:p>
              <a:r>
                <a:rPr lang="en-GB" dirty="0">
                  <a:solidFill>
                    <a:schemeClr val="accent3"/>
                  </a:solidFill>
                </a:rPr>
                <a:t>y</a:t>
              </a:r>
            </a:p>
          </p:txBody>
        </p:sp>
        <p:sp>
          <p:nvSpPr>
            <p:cNvPr id="50" name="textruta 49"/>
            <p:cNvSpPr txBox="1"/>
            <p:nvPr/>
          </p:nvSpPr>
          <p:spPr>
            <a:xfrm>
              <a:off x="-1827296" y="3698654"/>
              <a:ext cx="362364" cy="369332"/>
            </a:xfrm>
            <a:prstGeom prst="rect">
              <a:avLst/>
            </a:prstGeom>
            <a:noFill/>
            <a:ln>
              <a:noFill/>
            </a:ln>
          </p:spPr>
          <p:txBody>
            <a:bodyPr wrap="square" rtlCol="0">
              <a:spAutoFit/>
            </a:bodyPr>
            <a:lstStyle/>
            <a:p>
              <a:r>
                <a:rPr lang="en-GB" dirty="0">
                  <a:solidFill>
                    <a:schemeClr val="accent1"/>
                  </a:solidFill>
                </a:rPr>
                <a:t>z</a:t>
              </a:r>
            </a:p>
          </p:txBody>
        </p:sp>
      </p:grpSp>
    </p:spTree>
    <p:extLst>
      <p:ext uri="{BB962C8B-B14F-4D97-AF65-F5344CB8AC3E}">
        <p14:creationId xmlns:p14="http://schemas.microsoft.com/office/powerpoint/2010/main" val="30943544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Hand parameters: bend</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29</a:t>
            </a:fld>
            <a:endParaRPr lang="en-GB"/>
          </a:p>
        </p:txBody>
      </p:sp>
      <p:sp>
        <p:nvSpPr>
          <p:cNvPr id="6" name="Platshållare för sidfot 5"/>
          <p:cNvSpPr>
            <a:spLocks noGrp="1"/>
          </p:cNvSpPr>
          <p:nvPr>
            <p:ph type="ftr" sz="quarter" idx="11"/>
          </p:nvPr>
        </p:nvSpPr>
        <p:spPr/>
        <p:txBody>
          <a:bodyPr/>
          <a:lstStyle/>
          <a:p>
            <a:r>
              <a:rPr lang="en-GB"/>
              <a:t>KTH IPT Team</a:t>
            </a:r>
          </a:p>
        </p:txBody>
      </p:sp>
      <p:graphicFrame>
        <p:nvGraphicFramePr>
          <p:cNvPr id="7" name="Diagram 6">
            <a:extLst>
              <a:ext uri="{FF2B5EF4-FFF2-40B4-BE49-F238E27FC236}">
                <a16:creationId xmlns:a16="http://schemas.microsoft.com/office/drawing/2014/main" id="{01B64319-9BB0-4A5D-A549-DB2DCF548CDE}"/>
              </a:ext>
            </a:extLst>
          </p:cNvPr>
          <p:cNvGraphicFramePr>
            <a:graphicFrameLocks/>
          </p:cNvGraphicFramePr>
          <p:nvPr>
            <p:extLst>
              <p:ext uri="{D42A27DB-BD31-4B8C-83A1-F6EECF244321}">
                <p14:modId xmlns:p14="http://schemas.microsoft.com/office/powerpoint/2010/main" val="2234638689"/>
              </p:ext>
            </p:extLst>
          </p:nvPr>
        </p:nvGraphicFramePr>
        <p:xfrm>
          <a:off x="617220" y="1653540"/>
          <a:ext cx="5867400" cy="3520440"/>
        </p:xfrm>
        <a:graphic>
          <a:graphicData uri="http://schemas.openxmlformats.org/drawingml/2006/chart">
            <c:chart xmlns:c="http://schemas.openxmlformats.org/drawingml/2006/chart" xmlns:r="http://schemas.openxmlformats.org/officeDocument/2006/relationships" r:id="rId3"/>
          </a:graphicData>
        </a:graphic>
      </p:graphicFrame>
      <p:sp>
        <p:nvSpPr>
          <p:cNvPr id="9" name="Rektangel: rundade hörn 8"/>
          <p:cNvSpPr/>
          <p:nvPr/>
        </p:nvSpPr>
        <p:spPr>
          <a:xfrm>
            <a:off x="7517209" y="1298534"/>
            <a:ext cx="126519"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 name="Frihandsfigur: Form 9"/>
          <p:cNvSpPr/>
          <p:nvPr/>
        </p:nvSpPr>
        <p:spPr>
          <a:xfrm>
            <a:off x="7475330" y="1840024"/>
            <a:ext cx="238382" cy="985775"/>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6643"/>
              <a:gd name="connsiteY0" fmla="*/ 12700 h 985775"/>
              <a:gd name="connsiteX1" fmla="*/ 479238 w 756643"/>
              <a:gd name="connsiteY1" fmla="*/ 0 h 985775"/>
              <a:gd name="connsiteX2" fmla="*/ 754103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756643"/>
              <a:gd name="connsiteY0" fmla="*/ 12700 h 985775"/>
              <a:gd name="connsiteX1" fmla="*/ 479238 w 756643"/>
              <a:gd name="connsiteY1" fmla="*/ 0 h 985775"/>
              <a:gd name="connsiteX2" fmla="*/ 613124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687057"/>
              <a:gd name="connsiteY0" fmla="*/ 12700 h 985775"/>
              <a:gd name="connsiteX1" fmla="*/ 479238 w 687057"/>
              <a:gd name="connsiteY1" fmla="*/ 0 h 985775"/>
              <a:gd name="connsiteX2" fmla="*/ 613124 w 687057"/>
              <a:gd name="connsiteY2" fmla="*/ 179059 h 985775"/>
              <a:gd name="connsiteX3" fmla="*/ 649230 w 687057"/>
              <a:gd name="connsiteY3" fmla="*/ 427921 h 985775"/>
              <a:gd name="connsiteX4" fmla="*/ 669024 w 687057"/>
              <a:gd name="connsiteY4" fmla="*/ 632380 h 985775"/>
              <a:gd name="connsiteX5" fmla="*/ 588496 w 687057"/>
              <a:gd name="connsiteY5" fmla="*/ 721280 h 985775"/>
              <a:gd name="connsiteX6" fmla="*/ 588496 w 687057"/>
              <a:gd name="connsiteY6" fmla="*/ 917005 h 985775"/>
              <a:gd name="connsiteX7" fmla="*/ 523536 w 687057"/>
              <a:gd name="connsiteY7" fmla="*/ 981965 h 985775"/>
              <a:gd name="connsiteX8" fmla="*/ 193219 w 687057"/>
              <a:gd name="connsiteY8" fmla="*/ 985775 h 985775"/>
              <a:gd name="connsiteX9" fmla="*/ 135879 w 687057"/>
              <a:gd name="connsiteY9" fmla="*/ 926530 h 985775"/>
              <a:gd name="connsiteX10" fmla="*/ 118099 w 687057"/>
              <a:gd name="connsiteY10" fmla="*/ 721280 h 985775"/>
              <a:gd name="connsiteX11" fmla="*/ 0 w 687057"/>
              <a:gd name="connsiteY11" fmla="*/ 603181 h 985775"/>
              <a:gd name="connsiteX12" fmla="*/ 7620 w 687057"/>
              <a:gd name="connsiteY12" fmla="*/ 62219 h 985775"/>
              <a:gd name="connsiteX13" fmla="*/ 118099 w 687057"/>
              <a:gd name="connsiteY13" fmla="*/ 12700 h 985775"/>
              <a:gd name="connsiteX0" fmla="*/ 118099 w 684147"/>
              <a:gd name="connsiteY0" fmla="*/ 12700 h 985775"/>
              <a:gd name="connsiteX1" fmla="*/ 479238 w 684147"/>
              <a:gd name="connsiteY1" fmla="*/ 0 h 985775"/>
              <a:gd name="connsiteX2" fmla="*/ 613124 w 684147"/>
              <a:gd name="connsiteY2" fmla="*/ 179059 h 985775"/>
              <a:gd name="connsiteX3" fmla="*/ 629090 w 684147"/>
              <a:gd name="connsiteY3" fmla="*/ 425381 h 985775"/>
              <a:gd name="connsiteX4" fmla="*/ 669024 w 684147"/>
              <a:gd name="connsiteY4" fmla="*/ 632380 h 985775"/>
              <a:gd name="connsiteX5" fmla="*/ 588496 w 684147"/>
              <a:gd name="connsiteY5" fmla="*/ 721280 h 985775"/>
              <a:gd name="connsiteX6" fmla="*/ 588496 w 684147"/>
              <a:gd name="connsiteY6" fmla="*/ 917005 h 985775"/>
              <a:gd name="connsiteX7" fmla="*/ 523536 w 684147"/>
              <a:gd name="connsiteY7" fmla="*/ 981965 h 985775"/>
              <a:gd name="connsiteX8" fmla="*/ 193219 w 684147"/>
              <a:gd name="connsiteY8" fmla="*/ 985775 h 985775"/>
              <a:gd name="connsiteX9" fmla="*/ 135879 w 684147"/>
              <a:gd name="connsiteY9" fmla="*/ 926530 h 985775"/>
              <a:gd name="connsiteX10" fmla="*/ 118099 w 684147"/>
              <a:gd name="connsiteY10" fmla="*/ 721280 h 985775"/>
              <a:gd name="connsiteX11" fmla="*/ 0 w 684147"/>
              <a:gd name="connsiteY11" fmla="*/ 603181 h 985775"/>
              <a:gd name="connsiteX12" fmla="*/ 7620 w 684147"/>
              <a:gd name="connsiteY12" fmla="*/ 62219 h 985775"/>
              <a:gd name="connsiteX13" fmla="*/ 118099 w 684147"/>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136146 w 684414"/>
              <a:gd name="connsiteY9" fmla="*/ 92653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69012 w 684414"/>
              <a:gd name="connsiteY9" fmla="*/ 92907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30052"/>
              <a:gd name="connsiteY0" fmla="*/ 12700 h 985775"/>
              <a:gd name="connsiteX1" fmla="*/ 479505 w 630052"/>
              <a:gd name="connsiteY1" fmla="*/ 0 h 985775"/>
              <a:gd name="connsiteX2" fmla="*/ 613391 w 630052"/>
              <a:gd name="connsiteY2" fmla="*/ 179059 h 985775"/>
              <a:gd name="connsiteX3" fmla="*/ 629357 w 630052"/>
              <a:gd name="connsiteY3" fmla="*/ 425381 h 985775"/>
              <a:gd name="connsiteX4" fmla="*/ 588731 w 630052"/>
              <a:gd name="connsiteY4" fmla="*/ 622220 h 985775"/>
              <a:gd name="connsiteX5" fmla="*/ 588763 w 630052"/>
              <a:gd name="connsiteY5" fmla="*/ 721280 h 985775"/>
              <a:gd name="connsiteX6" fmla="*/ 588763 w 630052"/>
              <a:gd name="connsiteY6" fmla="*/ 917005 h 985775"/>
              <a:gd name="connsiteX7" fmla="*/ 523803 w 630052"/>
              <a:gd name="connsiteY7" fmla="*/ 981965 h 985775"/>
              <a:gd name="connsiteX8" fmla="*/ 193486 w 630052"/>
              <a:gd name="connsiteY8" fmla="*/ 985775 h 985775"/>
              <a:gd name="connsiteX9" fmla="*/ 69012 w 630052"/>
              <a:gd name="connsiteY9" fmla="*/ 929070 h 985775"/>
              <a:gd name="connsiteX10" fmla="*/ 57946 w 630052"/>
              <a:gd name="connsiteY10" fmla="*/ 718740 h 985775"/>
              <a:gd name="connsiteX11" fmla="*/ 267 w 630052"/>
              <a:gd name="connsiteY11" fmla="*/ 603181 h 985775"/>
              <a:gd name="connsiteX12" fmla="*/ 7887 w 630052"/>
              <a:gd name="connsiteY12" fmla="*/ 62219 h 985775"/>
              <a:gd name="connsiteX13" fmla="*/ 118366 w 630052"/>
              <a:gd name="connsiteY13" fmla="*/ 12700 h 9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052" h="985775">
                <a:moveTo>
                  <a:pt x="118366" y="12700"/>
                </a:moveTo>
                <a:lnTo>
                  <a:pt x="479505" y="0"/>
                </a:lnTo>
                <a:cubicBezTo>
                  <a:pt x="544729" y="0"/>
                  <a:pt x="613391" y="113835"/>
                  <a:pt x="613391" y="179059"/>
                </a:cubicBezTo>
                <a:cubicBezTo>
                  <a:pt x="614238" y="274713"/>
                  <a:pt x="628510" y="329727"/>
                  <a:pt x="629357" y="425381"/>
                </a:cubicBezTo>
                <a:cubicBezTo>
                  <a:pt x="629357" y="490605"/>
                  <a:pt x="638715" y="551100"/>
                  <a:pt x="588731" y="622220"/>
                </a:cubicBezTo>
                <a:cubicBezTo>
                  <a:pt x="588742" y="655240"/>
                  <a:pt x="588752" y="688260"/>
                  <a:pt x="588763" y="721280"/>
                </a:cubicBezTo>
                <a:lnTo>
                  <a:pt x="588763" y="917005"/>
                </a:lnTo>
                <a:cubicBezTo>
                  <a:pt x="588763" y="952881"/>
                  <a:pt x="559679" y="981965"/>
                  <a:pt x="523803" y="981965"/>
                </a:cubicBezTo>
                <a:lnTo>
                  <a:pt x="193486" y="985775"/>
                </a:lnTo>
                <a:cubicBezTo>
                  <a:pt x="157610" y="985775"/>
                  <a:pt x="69012" y="964946"/>
                  <a:pt x="69012" y="929070"/>
                </a:cubicBezTo>
                <a:lnTo>
                  <a:pt x="57946" y="718740"/>
                </a:lnTo>
                <a:cubicBezTo>
                  <a:pt x="-7278" y="718740"/>
                  <a:pt x="267" y="668405"/>
                  <a:pt x="267" y="603181"/>
                </a:cubicBezTo>
                <a:cubicBezTo>
                  <a:pt x="1960" y="422014"/>
                  <a:pt x="6194" y="243386"/>
                  <a:pt x="7887" y="62219"/>
                </a:cubicBezTo>
                <a:cubicBezTo>
                  <a:pt x="7887" y="-3005"/>
                  <a:pt x="53142" y="12700"/>
                  <a:pt x="118366" y="1270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1" name="Frihandsfigur: Form 10"/>
          <p:cNvSpPr/>
          <p:nvPr/>
        </p:nvSpPr>
        <p:spPr>
          <a:xfrm flipH="1">
            <a:off x="7366532" y="1855338"/>
            <a:ext cx="301354"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2" name="Rektangel: rundade hörn 11"/>
          <p:cNvSpPr/>
          <p:nvPr/>
        </p:nvSpPr>
        <p:spPr>
          <a:xfrm rot="21413852">
            <a:off x="7604045" y="3251195"/>
            <a:ext cx="126519" cy="57265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3" name="Frihandsfigur: Form 12"/>
          <p:cNvSpPr/>
          <p:nvPr/>
        </p:nvSpPr>
        <p:spPr>
          <a:xfrm>
            <a:off x="7228538" y="3823849"/>
            <a:ext cx="586256" cy="997459"/>
          </a:xfrm>
          <a:custGeom>
            <a:avLst/>
            <a:gdLst>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98744 w 779503"/>
              <a:gd name="connsiteY10" fmla="*/ 708580 h 969265"/>
              <a:gd name="connsiteX11" fmla="*/ 118099 w 779503"/>
              <a:gd name="connsiteY11" fmla="*/ 708580 h 969265"/>
              <a:gd name="connsiteX12" fmla="*/ 0 w 779503"/>
              <a:gd name="connsiteY12" fmla="*/ 590481 h 969265"/>
              <a:gd name="connsiteX13" fmla="*/ 0 w 779503"/>
              <a:gd name="connsiteY13" fmla="*/ 118099 h 969265"/>
              <a:gd name="connsiteX14" fmla="*/ 118099 w 779503"/>
              <a:gd name="connsiteY14"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98744 w 779503"/>
              <a:gd name="connsiteY9" fmla="*/ 904305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69265"/>
              <a:gd name="connsiteX1" fmla="*/ 661404 w 779503"/>
              <a:gd name="connsiteY1" fmla="*/ 0 h 969265"/>
              <a:gd name="connsiteX2" fmla="*/ 779503 w 779503"/>
              <a:gd name="connsiteY2" fmla="*/ 118099 h 969265"/>
              <a:gd name="connsiteX3" fmla="*/ 779503 w 779503"/>
              <a:gd name="connsiteY3" fmla="*/ 590481 h 969265"/>
              <a:gd name="connsiteX4" fmla="*/ 661404 w 779503"/>
              <a:gd name="connsiteY4" fmla="*/ 708580 h 969265"/>
              <a:gd name="connsiteX5" fmla="*/ 588496 w 779503"/>
              <a:gd name="connsiteY5" fmla="*/ 708580 h 969265"/>
              <a:gd name="connsiteX6" fmla="*/ 588496 w 779503"/>
              <a:gd name="connsiteY6" fmla="*/ 904305 h 969265"/>
              <a:gd name="connsiteX7" fmla="*/ 523536 w 779503"/>
              <a:gd name="connsiteY7" fmla="*/ 969265 h 969265"/>
              <a:gd name="connsiteX8" fmla="*/ 263704 w 779503"/>
              <a:gd name="connsiteY8" fmla="*/ 969265 h 969265"/>
              <a:gd name="connsiteX9" fmla="*/ 135879 w 779503"/>
              <a:gd name="connsiteY9" fmla="*/ 913830 h 969265"/>
              <a:gd name="connsiteX10" fmla="*/ 118099 w 779503"/>
              <a:gd name="connsiteY10" fmla="*/ 708580 h 969265"/>
              <a:gd name="connsiteX11" fmla="*/ 0 w 779503"/>
              <a:gd name="connsiteY11" fmla="*/ 590481 h 969265"/>
              <a:gd name="connsiteX12" fmla="*/ 0 w 779503"/>
              <a:gd name="connsiteY12" fmla="*/ 118099 h 969265"/>
              <a:gd name="connsiteX13" fmla="*/ 118099 w 779503"/>
              <a:gd name="connsiteY13" fmla="*/ 0 h 969265"/>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21607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79503"/>
              <a:gd name="connsiteY0" fmla="*/ 0 h 971170"/>
              <a:gd name="connsiteX1" fmla="*/ 661404 w 779503"/>
              <a:gd name="connsiteY1" fmla="*/ 0 h 971170"/>
              <a:gd name="connsiteX2" fmla="*/ 779503 w 779503"/>
              <a:gd name="connsiteY2" fmla="*/ 118099 h 971170"/>
              <a:gd name="connsiteX3" fmla="*/ 779503 w 779503"/>
              <a:gd name="connsiteY3" fmla="*/ 590481 h 971170"/>
              <a:gd name="connsiteX4" fmla="*/ 661404 w 779503"/>
              <a:gd name="connsiteY4" fmla="*/ 708580 h 971170"/>
              <a:gd name="connsiteX5" fmla="*/ 588496 w 779503"/>
              <a:gd name="connsiteY5" fmla="*/ 708580 h 971170"/>
              <a:gd name="connsiteX6" fmla="*/ 588496 w 779503"/>
              <a:gd name="connsiteY6" fmla="*/ 904305 h 971170"/>
              <a:gd name="connsiteX7" fmla="*/ 523536 w 779503"/>
              <a:gd name="connsiteY7" fmla="*/ 969265 h 971170"/>
              <a:gd name="connsiteX8" fmla="*/ 210364 w 779503"/>
              <a:gd name="connsiteY8" fmla="*/ 971170 h 971170"/>
              <a:gd name="connsiteX9" fmla="*/ 135879 w 779503"/>
              <a:gd name="connsiteY9" fmla="*/ 913830 h 971170"/>
              <a:gd name="connsiteX10" fmla="*/ 118099 w 779503"/>
              <a:gd name="connsiteY10" fmla="*/ 708580 h 971170"/>
              <a:gd name="connsiteX11" fmla="*/ 0 w 779503"/>
              <a:gd name="connsiteY11" fmla="*/ 590481 h 971170"/>
              <a:gd name="connsiteX12" fmla="*/ 0 w 779503"/>
              <a:gd name="connsiteY12" fmla="*/ 118099 h 971170"/>
              <a:gd name="connsiteX13" fmla="*/ 118099 w 779503"/>
              <a:gd name="connsiteY13" fmla="*/ 0 h 971170"/>
              <a:gd name="connsiteX0" fmla="*/ 118099 w 779503"/>
              <a:gd name="connsiteY0" fmla="*/ 0 h 973075"/>
              <a:gd name="connsiteX1" fmla="*/ 661404 w 779503"/>
              <a:gd name="connsiteY1" fmla="*/ 0 h 973075"/>
              <a:gd name="connsiteX2" fmla="*/ 779503 w 779503"/>
              <a:gd name="connsiteY2" fmla="*/ 118099 h 973075"/>
              <a:gd name="connsiteX3" fmla="*/ 779503 w 779503"/>
              <a:gd name="connsiteY3" fmla="*/ 590481 h 973075"/>
              <a:gd name="connsiteX4" fmla="*/ 661404 w 779503"/>
              <a:gd name="connsiteY4" fmla="*/ 708580 h 973075"/>
              <a:gd name="connsiteX5" fmla="*/ 588496 w 779503"/>
              <a:gd name="connsiteY5" fmla="*/ 708580 h 973075"/>
              <a:gd name="connsiteX6" fmla="*/ 588496 w 779503"/>
              <a:gd name="connsiteY6" fmla="*/ 904305 h 973075"/>
              <a:gd name="connsiteX7" fmla="*/ 523536 w 779503"/>
              <a:gd name="connsiteY7" fmla="*/ 969265 h 973075"/>
              <a:gd name="connsiteX8" fmla="*/ 193219 w 779503"/>
              <a:gd name="connsiteY8" fmla="*/ 973075 h 973075"/>
              <a:gd name="connsiteX9" fmla="*/ 135879 w 779503"/>
              <a:gd name="connsiteY9" fmla="*/ 913830 h 973075"/>
              <a:gd name="connsiteX10" fmla="*/ 118099 w 779503"/>
              <a:gd name="connsiteY10" fmla="*/ 708580 h 973075"/>
              <a:gd name="connsiteX11" fmla="*/ 0 w 779503"/>
              <a:gd name="connsiteY11" fmla="*/ 590481 h 973075"/>
              <a:gd name="connsiteX12" fmla="*/ 0 w 779503"/>
              <a:gd name="connsiteY12" fmla="*/ 118099 h 973075"/>
              <a:gd name="connsiteX13" fmla="*/ 118099 w 77950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661404 w 782043"/>
              <a:gd name="connsiteY4" fmla="*/ 70858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0 h 973075"/>
              <a:gd name="connsiteX1" fmla="*/ 661404 w 782043"/>
              <a:gd name="connsiteY1" fmla="*/ 0 h 973075"/>
              <a:gd name="connsiteX2" fmla="*/ 779503 w 782043"/>
              <a:gd name="connsiteY2" fmla="*/ 11809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2348 h 975423"/>
              <a:gd name="connsiteX1" fmla="*/ 661404 w 782043"/>
              <a:gd name="connsiteY1" fmla="*/ 2348 h 975423"/>
              <a:gd name="connsiteX2" fmla="*/ 723623 w 782043"/>
              <a:gd name="connsiteY2" fmla="*/ 49327 h 975423"/>
              <a:gd name="connsiteX3" fmla="*/ 782043 w 782043"/>
              <a:gd name="connsiteY3" fmla="*/ 407409 h 975423"/>
              <a:gd name="connsiteX4" fmla="*/ 709664 w 782043"/>
              <a:gd name="connsiteY4" fmla="*/ 616948 h 975423"/>
              <a:gd name="connsiteX5" fmla="*/ 588496 w 782043"/>
              <a:gd name="connsiteY5" fmla="*/ 710928 h 975423"/>
              <a:gd name="connsiteX6" fmla="*/ 588496 w 782043"/>
              <a:gd name="connsiteY6" fmla="*/ 906653 h 975423"/>
              <a:gd name="connsiteX7" fmla="*/ 523536 w 782043"/>
              <a:gd name="connsiteY7" fmla="*/ 971613 h 975423"/>
              <a:gd name="connsiteX8" fmla="*/ 193219 w 782043"/>
              <a:gd name="connsiteY8" fmla="*/ 975423 h 975423"/>
              <a:gd name="connsiteX9" fmla="*/ 135879 w 782043"/>
              <a:gd name="connsiteY9" fmla="*/ 916178 h 975423"/>
              <a:gd name="connsiteX10" fmla="*/ 118099 w 782043"/>
              <a:gd name="connsiteY10" fmla="*/ 710928 h 975423"/>
              <a:gd name="connsiteX11" fmla="*/ 0 w 782043"/>
              <a:gd name="connsiteY11" fmla="*/ 592829 h 975423"/>
              <a:gd name="connsiteX12" fmla="*/ 0 w 782043"/>
              <a:gd name="connsiteY12" fmla="*/ 120447 h 975423"/>
              <a:gd name="connsiteX13" fmla="*/ 118099 w 782043"/>
              <a:gd name="connsiteY13" fmla="*/ 2348 h 975423"/>
              <a:gd name="connsiteX0" fmla="*/ 118099 w 782043"/>
              <a:gd name="connsiteY0" fmla="*/ 1 h 973076"/>
              <a:gd name="connsiteX1" fmla="*/ 661404 w 782043"/>
              <a:gd name="connsiteY1" fmla="*/ 1 h 973076"/>
              <a:gd name="connsiteX2" fmla="*/ 749023 w 782043"/>
              <a:gd name="connsiteY2" fmla="*/ 64760 h 973076"/>
              <a:gd name="connsiteX3" fmla="*/ 782043 w 782043"/>
              <a:gd name="connsiteY3" fmla="*/ 405062 h 973076"/>
              <a:gd name="connsiteX4" fmla="*/ 709664 w 782043"/>
              <a:gd name="connsiteY4" fmla="*/ 614601 h 973076"/>
              <a:gd name="connsiteX5" fmla="*/ 588496 w 782043"/>
              <a:gd name="connsiteY5" fmla="*/ 708581 h 973076"/>
              <a:gd name="connsiteX6" fmla="*/ 588496 w 782043"/>
              <a:gd name="connsiteY6" fmla="*/ 904306 h 973076"/>
              <a:gd name="connsiteX7" fmla="*/ 523536 w 782043"/>
              <a:gd name="connsiteY7" fmla="*/ 969266 h 973076"/>
              <a:gd name="connsiteX8" fmla="*/ 193219 w 782043"/>
              <a:gd name="connsiteY8" fmla="*/ 973076 h 973076"/>
              <a:gd name="connsiteX9" fmla="*/ 135879 w 782043"/>
              <a:gd name="connsiteY9" fmla="*/ 913831 h 973076"/>
              <a:gd name="connsiteX10" fmla="*/ 118099 w 782043"/>
              <a:gd name="connsiteY10" fmla="*/ 708581 h 973076"/>
              <a:gd name="connsiteX11" fmla="*/ 0 w 782043"/>
              <a:gd name="connsiteY11" fmla="*/ 590482 h 973076"/>
              <a:gd name="connsiteX12" fmla="*/ 0 w 782043"/>
              <a:gd name="connsiteY12" fmla="*/ 118100 h 973076"/>
              <a:gd name="connsiteX13" fmla="*/ 118099 w 782043"/>
              <a:gd name="connsiteY13" fmla="*/ 1 h 973076"/>
              <a:gd name="connsiteX0" fmla="*/ 118099 w 782043"/>
              <a:gd name="connsiteY0" fmla="*/ 117 h 973192"/>
              <a:gd name="connsiteX1" fmla="*/ 661404 w 782043"/>
              <a:gd name="connsiteY1" fmla="*/ 117 h 973192"/>
              <a:gd name="connsiteX2" fmla="*/ 738863 w 782043"/>
              <a:gd name="connsiteY2" fmla="*/ 59796 h 973192"/>
              <a:gd name="connsiteX3" fmla="*/ 782043 w 782043"/>
              <a:gd name="connsiteY3" fmla="*/ 405178 h 973192"/>
              <a:gd name="connsiteX4" fmla="*/ 709664 w 782043"/>
              <a:gd name="connsiteY4" fmla="*/ 614717 h 973192"/>
              <a:gd name="connsiteX5" fmla="*/ 588496 w 782043"/>
              <a:gd name="connsiteY5" fmla="*/ 708697 h 973192"/>
              <a:gd name="connsiteX6" fmla="*/ 588496 w 782043"/>
              <a:gd name="connsiteY6" fmla="*/ 904422 h 973192"/>
              <a:gd name="connsiteX7" fmla="*/ 523536 w 782043"/>
              <a:gd name="connsiteY7" fmla="*/ 969382 h 973192"/>
              <a:gd name="connsiteX8" fmla="*/ 193219 w 782043"/>
              <a:gd name="connsiteY8" fmla="*/ 973192 h 973192"/>
              <a:gd name="connsiteX9" fmla="*/ 135879 w 782043"/>
              <a:gd name="connsiteY9" fmla="*/ 913947 h 973192"/>
              <a:gd name="connsiteX10" fmla="*/ 118099 w 782043"/>
              <a:gd name="connsiteY10" fmla="*/ 708697 h 973192"/>
              <a:gd name="connsiteX11" fmla="*/ 0 w 782043"/>
              <a:gd name="connsiteY11" fmla="*/ 590598 h 973192"/>
              <a:gd name="connsiteX12" fmla="*/ 0 w 782043"/>
              <a:gd name="connsiteY12" fmla="*/ 118216 h 973192"/>
              <a:gd name="connsiteX13" fmla="*/ 118099 w 782043"/>
              <a:gd name="connsiteY13" fmla="*/ 117 h 973192"/>
              <a:gd name="connsiteX0" fmla="*/ 118099 w 782043"/>
              <a:gd name="connsiteY0" fmla="*/ 0 h 973075"/>
              <a:gd name="connsiteX1" fmla="*/ 661404 w 782043"/>
              <a:gd name="connsiteY1" fmla="*/ 0 h 973075"/>
              <a:gd name="connsiteX2" fmla="*/ 754103 w 782043"/>
              <a:gd name="connsiteY2" fmla="*/ 166359 h 973075"/>
              <a:gd name="connsiteX3" fmla="*/ 782043 w 782043"/>
              <a:gd name="connsiteY3" fmla="*/ 405061 h 973075"/>
              <a:gd name="connsiteX4" fmla="*/ 709664 w 782043"/>
              <a:gd name="connsiteY4" fmla="*/ 614600 h 973075"/>
              <a:gd name="connsiteX5" fmla="*/ 588496 w 782043"/>
              <a:gd name="connsiteY5" fmla="*/ 708580 h 973075"/>
              <a:gd name="connsiteX6" fmla="*/ 588496 w 782043"/>
              <a:gd name="connsiteY6" fmla="*/ 904305 h 973075"/>
              <a:gd name="connsiteX7" fmla="*/ 523536 w 782043"/>
              <a:gd name="connsiteY7" fmla="*/ 969265 h 973075"/>
              <a:gd name="connsiteX8" fmla="*/ 193219 w 782043"/>
              <a:gd name="connsiteY8" fmla="*/ 973075 h 973075"/>
              <a:gd name="connsiteX9" fmla="*/ 135879 w 782043"/>
              <a:gd name="connsiteY9" fmla="*/ 913830 h 973075"/>
              <a:gd name="connsiteX10" fmla="*/ 118099 w 782043"/>
              <a:gd name="connsiteY10" fmla="*/ 708580 h 973075"/>
              <a:gd name="connsiteX11" fmla="*/ 0 w 782043"/>
              <a:gd name="connsiteY11" fmla="*/ 590481 h 973075"/>
              <a:gd name="connsiteX12" fmla="*/ 0 w 782043"/>
              <a:gd name="connsiteY12" fmla="*/ 118099 h 973075"/>
              <a:gd name="connsiteX13" fmla="*/ 118099 w 782043"/>
              <a:gd name="connsiteY13" fmla="*/ 0 h 973075"/>
              <a:gd name="connsiteX0" fmla="*/ 118099 w 782043"/>
              <a:gd name="connsiteY0" fmla="*/ 7620 h 980695"/>
              <a:gd name="connsiteX1" fmla="*/ 64870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0 w 782043"/>
              <a:gd name="connsiteY12" fmla="*/ 12571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5080 w 782043"/>
              <a:gd name="connsiteY12" fmla="*/ 5459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709664 w 782043"/>
              <a:gd name="connsiteY4" fmla="*/ 62222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82043"/>
              <a:gd name="connsiteY0" fmla="*/ 7620 h 980695"/>
              <a:gd name="connsiteX1" fmla="*/ 653784 w 782043"/>
              <a:gd name="connsiteY1" fmla="*/ 0 h 980695"/>
              <a:gd name="connsiteX2" fmla="*/ 754103 w 782043"/>
              <a:gd name="connsiteY2" fmla="*/ 173979 h 980695"/>
              <a:gd name="connsiteX3" fmla="*/ 782043 w 782043"/>
              <a:gd name="connsiteY3" fmla="*/ 412681 h 980695"/>
              <a:gd name="connsiteX4" fmla="*/ 669024 w 782043"/>
              <a:gd name="connsiteY4" fmla="*/ 627300 h 980695"/>
              <a:gd name="connsiteX5" fmla="*/ 588496 w 782043"/>
              <a:gd name="connsiteY5" fmla="*/ 716200 h 980695"/>
              <a:gd name="connsiteX6" fmla="*/ 588496 w 782043"/>
              <a:gd name="connsiteY6" fmla="*/ 911925 h 980695"/>
              <a:gd name="connsiteX7" fmla="*/ 523536 w 782043"/>
              <a:gd name="connsiteY7" fmla="*/ 976885 h 980695"/>
              <a:gd name="connsiteX8" fmla="*/ 193219 w 782043"/>
              <a:gd name="connsiteY8" fmla="*/ 980695 h 980695"/>
              <a:gd name="connsiteX9" fmla="*/ 135879 w 782043"/>
              <a:gd name="connsiteY9" fmla="*/ 921450 h 980695"/>
              <a:gd name="connsiteX10" fmla="*/ 118099 w 782043"/>
              <a:gd name="connsiteY10" fmla="*/ 716200 h 980695"/>
              <a:gd name="connsiteX11" fmla="*/ 0 w 782043"/>
              <a:gd name="connsiteY11" fmla="*/ 598101 h 980695"/>
              <a:gd name="connsiteX12" fmla="*/ 7620 w 782043"/>
              <a:gd name="connsiteY12" fmla="*/ 57139 h 980695"/>
              <a:gd name="connsiteX13" fmla="*/ 118099 w 782043"/>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1522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4138"/>
              <a:gd name="connsiteY0" fmla="*/ 7620 h 980695"/>
              <a:gd name="connsiteX1" fmla="*/ 653784 w 754138"/>
              <a:gd name="connsiteY1" fmla="*/ 0 h 980695"/>
              <a:gd name="connsiteX2" fmla="*/ 754103 w 754138"/>
              <a:gd name="connsiteY2" fmla="*/ 173979 h 980695"/>
              <a:gd name="connsiteX3" fmla="*/ 741403 w 754138"/>
              <a:gd name="connsiteY3" fmla="*/ 420301 h 980695"/>
              <a:gd name="connsiteX4" fmla="*/ 669024 w 754138"/>
              <a:gd name="connsiteY4" fmla="*/ 627300 h 980695"/>
              <a:gd name="connsiteX5" fmla="*/ 588496 w 754138"/>
              <a:gd name="connsiteY5" fmla="*/ 716200 h 980695"/>
              <a:gd name="connsiteX6" fmla="*/ 588496 w 754138"/>
              <a:gd name="connsiteY6" fmla="*/ 911925 h 980695"/>
              <a:gd name="connsiteX7" fmla="*/ 523536 w 754138"/>
              <a:gd name="connsiteY7" fmla="*/ 976885 h 980695"/>
              <a:gd name="connsiteX8" fmla="*/ 193219 w 754138"/>
              <a:gd name="connsiteY8" fmla="*/ 980695 h 980695"/>
              <a:gd name="connsiteX9" fmla="*/ 135879 w 754138"/>
              <a:gd name="connsiteY9" fmla="*/ 921450 h 980695"/>
              <a:gd name="connsiteX10" fmla="*/ 118099 w 754138"/>
              <a:gd name="connsiteY10" fmla="*/ 716200 h 980695"/>
              <a:gd name="connsiteX11" fmla="*/ 0 w 754138"/>
              <a:gd name="connsiteY11" fmla="*/ 598101 h 980695"/>
              <a:gd name="connsiteX12" fmla="*/ 7620 w 754138"/>
              <a:gd name="connsiteY12" fmla="*/ 57139 h 980695"/>
              <a:gd name="connsiteX13" fmla="*/ 118099 w 754138"/>
              <a:gd name="connsiteY13" fmla="*/ 7620 h 980695"/>
              <a:gd name="connsiteX0" fmla="*/ 118099 w 754146"/>
              <a:gd name="connsiteY0" fmla="*/ 7620 h 980695"/>
              <a:gd name="connsiteX1" fmla="*/ 653784 w 754146"/>
              <a:gd name="connsiteY1" fmla="*/ 0 h 980695"/>
              <a:gd name="connsiteX2" fmla="*/ 754103 w 754146"/>
              <a:gd name="connsiteY2" fmla="*/ 173979 h 980695"/>
              <a:gd name="connsiteX3" fmla="*/ 743943 w 754146"/>
              <a:gd name="connsiteY3" fmla="*/ 420301 h 980695"/>
              <a:gd name="connsiteX4" fmla="*/ 669024 w 754146"/>
              <a:gd name="connsiteY4" fmla="*/ 627300 h 980695"/>
              <a:gd name="connsiteX5" fmla="*/ 588496 w 754146"/>
              <a:gd name="connsiteY5" fmla="*/ 716200 h 980695"/>
              <a:gd name="connsiteX6" fmla="*/ 588496 w 754146"/>
              <a:gd name="connsiteY6" fmla="*/ 911925 h 980695"/>
              <a:gd name="connsiteX7" fmla="*/ 523536 w 754146"/>
              <a:gd name="connsiteY7" fmla="*/ 976885 h 980695"/>
              <a:gd name="connsiteX8" fmla="*/ 193219 w 754146"/>
              <a:gd name="connsiteY8" fmla="*/ 980695 h 980695"/>
              <a:gd name="connsiteX9" fmla="*/ 135879 w 754146"/>
              <a:gd name="connsiteY9" fmla="*/ 921450 h 980695"/>
              <a:gd name="connsiteX10" fmla="*/ 118099 w 754146"/>
              <a:gd name="connsiteY10" fmla="*/ 716200 h 980695"/>
              <a:gd name="connsiteX11" fmla="*/ 0 w 754146"/>
              <a:gd name="connsiteY11" fmla="*/ 598101 h 980695"/>
              <a:gd name="connsiteX12" fmla="*/ 7620 w 754146"/>
              <a:gd name="connsiteY12" fmla="*/ 57139 h 980695"/>
              <a:gd name="connsiteX13" fmla="*/ 118099 w 754146"/>
              <a:gd name="connsiteY13" fmla="*/ 7620 h 980695"/>
              <a:gd name="connsiteX0" fmla="*/ 118099 w 756643"/>
              <a:gd name="connsiteY0" fmla="*/ 7620 h 980695"/>
              <a:gd name="connsiteX1" fmla="*/ 653784 w 756643"/>
              <a:gd name="connsiteY1" fmla="*/ 0 h 980695"/>
              <a:gd name="connsiteX2" fmla="*/ 754103 w 756643"/>
              <a:gd name="connsiteY2" fmla="*/ 173979 h 980695"/>
              <a:gd name="connsiteX3" fmla="*/ 756643 w 756643"/>
              <a:gd name="connsiteY3" fmla="*/ 420301 h 980695"/>
              <a:gd name="connsiteX4" fmla="*/ 669024 w 756643"/>
              <a:gd name="connsiteY4" fmla="*/ 627300 h 980695"/>
              <a:gd name="connsiteX5" fmla="*/ 588496 w 756643"/>
              <a:gd name="connsiteY5" fmla="*/ 716200 h 980695"/>
              <a:gd name="connsiteX6" fmla="*/ 588496 w 756643"/>
              <a:gd name="connsiteY6" fmla="*/ 911925 h 980695"/>
              <a:gd name="connsiteX7" fmla="*/ 523536 w 756643"/>
              <a:gd name="connsiteY7" fmla="*/ 976885 h 980695"/>
              <a:gd name="connsiteX8" fmla="*/ 193219 w 756643"/>
              <a:gd name="connsiteY8" fmla="*/ 980695 h 980695"/>
              <a:gd name="connsiteX9" fmla="*/ 135879 w 756643"/>
              <a:gd name="connsiteY9" fmla="*/ 921450 h 980695"/>
              <a:gd name="connsiteX10" fmla="*/ 118099 w 756643"/>
              <a:gd name="connsiteY10" fmla="*/ 716200 h 980695"/>
              <a:gd name="connsiteX11" fmla="*/ 0 w 756643"/>
              <a:gd name="connsiteY11" fmla="*/ 598101 h 980695"/>
              <a:gd name="connsiteX12" fmla="*/ 7620 w 756643"/>
              <a:gd name="connsiteY12" fmla="*/ 57139 h 980695"/>
              <a:gd name="connsiteX13" fmla="*/ 118099 w 756643"/>
              <a:gd name="connsiteY13" fmla="*/ 7620 h 980695"/>
              <a:gd name="connsiteX0" fmla="*/ 118099 w 756643"/>
              <a:gd name="connsiteY0" fmla="*/ 12700 h 985775"/>
              <a:gd name="connsiteX1" fmla="*/ 479238 w 756643"/>
              <a:gd name="connsiteY1" fmla="*/ 0 h 985775"/>
              <a:gd name="connsiteX2" fmla="*/ 754103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756643"/>
              <a:gd name="connsiteY0" fmla="*/ 12700 h 985775"/>
              <a:gd name="connsiteX1" fmla="*/ 479238 w 756643"/>
              <a:gd name="connsiteY1" fmla="*/ 0 h 985775"/>
              <a:gd name="connsiteX2" fmla="*/ 613124 w 756643"/>
              <a:gd name="connsiteY2" fmla="*/ 179059 h 985775"/>
              <a:gd name="connsiteX3" fmla="*/ 756643 w 756643"/>
              <a:gd name="connsiteY3" fmla="*/ 425381 h 985775"/>
              <a:gd name="connsiteX4" fmla="*/ 669024 w 756643"/>
              <a:gd name="connsiteY4" fmla="*/ 632380 h 985775"/>
              <a:gd name="connsiteX5" fmla="*/ 588496 w 756643"/>
              <a:gd name="connsiteY5" fmla="*/ 721280 h 985775"/>
              <a:gd name="connsiteX6" fmla="*/ 588496 w 756643"/>
              <a:gd name="connsiteY6" fmla="*/ 917005 h 985775"/>
              <a:gd name="connsiteX7" fmla="*/ 523536 w 756643"/>
              <a:gd name="connsiteY7" fmla="*/ 981965 h 985775"/>
              <a:gd name="connsiteX8" fmla="*/ 193219 w 756643"/>
              <a:gd name="connsiteY8" fmla="*/ 985775 h 985775"/>
              <a:gd name="connsiteX9" fmla="*/ 135879 w 756643"/>
              <a:gd name="connsiteY9" fmla="*/ 926530 h 985775"/>
              <a:gd name="connsiteX10" fmla="*/ 118099 w 756643"/>
              <a:gd name="connsiteY10" fmla="*/ 721280 h 985775"/>
              <a:gd name="connsiteX11" fmla="*/ 0 w 756643"/>
              <a:gd name="connsiteY11" fmla="*/ 603181 h 985775"/>
              <a:gd name="connsiteX12" fmla="*/ 7620 w 756643"/>
              <a:gd name="connsiteY12" fmla="*/ 62219 h 985775"/>
              <a:gd name="connsiteX13" fmla="*/ 118099 w 756643"/>
              <a:gd name="connsiteY13" fmla="*/ 12700 h 985775"/>
              <a:gd name="connsiteX0" fmla="*/ 118099 w 687057"/>
              <a:gd name="connsiteY0" fmla="*/ 12700 h 985775"/>
              <a:gd name="connsiteX1" fmla="*/ 479238 w 687057"/>
              <a:gd name="connsiteY1" fmla="*/ 0 h 985775"/>
              <a:gd name="connsiteX2" fmla="*/ 613124 w 687057"/>
              <a:gd name="connsiteY2" fmla="*/ 179059 h 985775"/>
              <a:gd name="connsiteX3" fmla="*/ 649230 w 687057"/>
              <a:gd name="connsiteY3" fmla="*/ 427921 h 985775"/>
              <a:gd name="connsiteX4" fmla="*/ 669024 w 687057"/>
              <a:gd name="connsiteY4" fmla="*/ 632380 h 985775"/>
              <a:gd name="connsiteX5" fmla="*/ 588496 w 687057"/>
              <a:gd name="connsiteY5" fmla="*/ 721280 h 985775"/>
              <a:gd name="connsiteX6" fmla="*/ 588496 w 687057"/>
              <a:gd name="connsiteY6" fmla="*/ 917005 h 985775"/>
              <a:gd name="connsiteX7" fmla="*/ 523536 w 687057"/>
              <a:gd name="connsiteY7" fmla="*/ 981965 h 985775"/>
              <a:gd name="connsiteX8" fmla="*/ 193219 w 687057"/>
              <a:gd name="connsiteY8" fmla="*/ 985775 h 985775"/>
              <a:gd name="connsiteX9" fmla="*/ 135879 w 687057"/>
              <a:gd name="connsiteY9" fmla="*/ 926530 h 985775"/>
              <a:gd name="connsiteX10" fmla="*/ 118099 w 687057"/>
              <a:gd name="connsiteY10" fmla="*/ 721280 h 985775"/>
              <a:gd name="connsiteX11" fmla="*/ 0 w 687057"/>
              <a:gd name="connsiteY11" fmla="*/ 603181 h 985775"/>
              <a:gd name="connsiteX12" fmla="*/ 7620 w 687057"/>
              <a:gd name="connsiteY12" fmla="*/ 62219 h 985775"/>
              <a:gd name="connsiteX13" fmla="*/ 118099 w 687057"/>
              <a:gd name="connsiteY13" fmla="*/ 12700 h 985775"/>
              <a:gd name="connsiteX0" fmla="*/ 118099 w 684147"/>
              <a:gd name="connsiteY0" fmla="*/ 12700 h 985775"/>
              <a:gd name="connsiteX1" fmla="*/ 479238 w 684147"/>
              <a:gd name="connsiteY1" fmla="*/ 0 h 985775"/>
              <a:gd name="connsiteX2" fmla="*/ 613124 w 684147"/>
              <a:gd name="connsiteY2" fmla="*/ 179059 h 985775"/>
              <a:gd name="connsiteX3" fmla="*/ 629090 w 684147"/>
              <a:gd name="connsiteY3" fmla="*/ 425381 h 985775"/>
              <a:gd name="connsiteX4" fmla="*/ 669024 w 684147"/>
              <a:gd name="connsiteY4" fmla="*/ 632380 h 985775"/>
              <a:gd name="connsiteX5" fmla="*/ 588496 w 684147"/>
              <a:gd name="connsiteY5" fmla="*/ 721280 h 985775"/>
              <a:gd name="connsiteX6" fmla="*/ 588496 w 684147"/>
              <a:gd name="connsiteY6" fmla="*/ 917005 h 985775"/>
              <a:gd name="connsiteX7" fmla="*/ 523536 w 684147"/>
              <a:gd name="connsiteY7" fmla="*/ 981965 h 985775"/>
              <a:gd name="connsiteX8" fmla="*/ 193219 w 684147"/>
              <a:gd name="connsiteY8" fmla="*/ 985775 h 985775"/>
              <a:gd name="connsiteX9" fmla="*/ 135879 w 684147"/>
              <a:gd name="connsiteY9" fmla="*/ 926530 h 985775"/>
              <a:gd name="connsiteX10" fmla="*/ 118099 w 684147"/>
              <a:gd name="connsiteY10" fmla="*/ 721280 h 985775"/>
              <a:gd name="connsiteX11" fmla="*/ 0 w 684147"/>
              <a:gd name="connsiteY11" fmla="*/ 603181 h 985775"/>
              <a:gd name="connsiteX12" fmla="*/ 7620 w 684147"/>
              <a:gd name="connsiteY12" fmla="*/ 62219 h 985775"/>
              <a:gd name="connsiteX13" fmla="*/ 118099 w 684147"/>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136146 w 684414"/>
              <a:gd name="connsiteY9" fmla="*/ 92653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84414"/>
              <a:gd name="connsiteY0" fmla="*/ 12700 h 985775"/>
              <a:gd name="connsiteX1" fmla="*/ 479505 w 684414"/>
              <a:gd name="connsiteY1" fmla="*/ 0 h 985775"/>
              <a:gd name="connsiteX2" fmla="*/ 613391 w 684414"/>
              <a:gd name="connsiteY2" fmla="*/ 179059 h 985775"/>
              <a:gd name="connsiteX3" fmla="*/ 629357 w 684414"/>
              <a:gd name="connsiteY3" fmla="*/ 425381 h 985775"/>
              <a:gd name="connsiteX4" fmla="*/ 669291 w 684414"/>
              <a:gd name="connsiteY4" fmla="*/ 632380 h 985775"/>
              <a:gd name="connsiteX5" fmla="*/ 588763 w 684414"/>
              <a:gd name="connsiteY5" fmla="*/ 721280 h 985775"/>
              <a:gd name="connsiteX6" fmla="*/ 588763 w 684414"/>
              <a:gd name="connsiteY6" fmla="*/ 917005 h 985775"/>
              <a:gd name="connsiteX7" fmla="*/ 523803 w 684414"/>
              <a:gd name="connsiteY7" fmla="*/ 981965 h 985775"/>
              <a:gd name="connsiteX8" fmla="*/ 193486 w 684414"/>
              <a:gd name="connsiteY8" fmla="*/ 985775 h 985775"/>
              <a:gd name="connsiteX9" fmla="*/ 69012 w 684414"/>
              <a:gd name="connsiteY9" fmla="*/ 929070 h 985775"/>
              <a:gd name="connsiteX10" fmla="*/ 57946 w 684414"/>
              <a:gd name="connsiteY10" fmla="*/ 718740 h 985775"/>
              <a:gd name="connsiteX11" fmla="*/ 267 w 684414"/>
              <a:gd name="connsiteY11" fmla="*/ 603181 h 985775"/>
              <a:gd name="connsiteX12" fmla="*/ 7887 w 684414"/>
              <a:gd name="connsiteY12" fmla="*/ 62219 h 985775"/>
              <a:gd name="connsiteX13" fmla="*/ 118366 w 684414"/>
              <a:gd name="connsiteY13" fmla="*/ 12700 h 985775"/>
              <a:gd name="connsiteX0" fmla="*/ 118366 w 630052"/>
              <a:gd name="connsiteY0" fmla="*/ 12700 h 985775"/>
              <a:gd name="connsiteX1" fmla="*/ 479505 w 630052"/>
              <a:gd name="connsiteY1" fmla="*/ 0 h 985775"/>
              <a:gd name="connsiteX2" fmla="*/ 613391 w 630052"/>
              <a:gd name="connsiteY2" fmla="*/ 179059 h 985775"/>
              <a:gd name="connsiteX3" fmla="*/ 629357 w 630052"/>
              <a:gd name="connsiteY3" fmla="*/ 425381 h 985775"/>
              <a:gd name="connsiteX4" fmla="*/ 588731 w 630052"/>
              <a:gd name="connsiteY4" fmla="*/ 622220 h 985775"/>
              <a:gd name="connsiteX5" fmla="*/ 588763 w 630052"/>
              <a:gd name="connsiteY5" fmla="*/ 721280 h 985775"/>
              <a:gd name="connsiteX6" fmla="*/ 588763 w 630052"/>
              <a:gd name="connsiteY6" fmla="*/ 917005 h 985775"/>
              <a:gd name="connsiteX7" fmla="*/ 523803 w 630052"/>
              <a:gd name="connsiteY7" fmla="*/ 981965 h 985775"/>
              <a:gd name="connsiteX8" fmla="*/ 193486 w 630052"/>
              <a:gd name="connsiteY8" fmla="*/ 985775 h 985775"/>
              <a:gd name="connsiteX9" fmla="*/ 69012 w 630052"/>
              <a:gd name="connsiteY9" fmla="*/ 929070 h 985775"/>
              <a:gd name="connsiteX10" fmla="*/ 57946 w 630052"/>
              <a:gd name="connsiteY10" fmla="*/ 718740 h 985775"/>
              <a:gd name="connsiteX11" fmla="*/ 267 w 630052"/>
              <a:gd name="connsiteY11" fmla="*/ 603181 h 985775"/>
              <a:gd name="connsiteX12" fmla="*/ 7887 w 630052"/>
              <a:gd name="connsiteY12" fmla="*/ 62219 h 985775"/>
              <a:gd name="connsiteX13" fmla="*/ 118366 w 630052"/>
              <a:gd name="connsiteY13" fmla="*/ 12700 h 985775"/>
              <a:gd name="connsiteX0" fmla="*/ 122074 w 633760"/>
              <a:gd name="connsiteY0" fmla="*/ 12700 h 985775"/>
              <a:gd name="connsiteX1" fmla="*/ 483213 w 633760"/>
              <a:gd name="connsiteY1" fmla="*/ 0 h 985775"/>
              <a:gd name="connsiteX2" fmla="*/ 617099 w 633760"/>
              <a:gd name="connsiteY2" fmla="*/ 179059 h 985775"/>
              <a:gd name="connsiteX3" fmla="*/ 633065 w 633760"/>
              <a:gd name="connsiteY3" fmla="*/ 425381 h 985775"/>
              <a:gd name="connsiteX4" fmla="*/ 592439 w 633760"/>
              <a:gd name="connsiteY4" fmla="*/ 622220 h 985775"/>
              <a:gd name="connsiteX5" fmla="*/ 592471 w 633760"/>
              <a:gd name="connsiteY5" fmla="*/ 721280 h 985775"/>
              <a:gd name="connsiteX6" fmla="*/ 592471 w 633760"/>
              <a:gd name="connsiteY6" fmla="*/ 917005 h 985775"/>
              <a:gd name="connsiteX7" fmla="*/ 527511 w 633760"/>
              <a:gd name="connsiteY7" fmla="*/ 981965 h 985775"/>
              <a:gd name="connsiteX8" fmla="*/ 197194 w 633760"/>
              <a:gd name="connsiteY8" fmla="*/ 985775 h 985775"/>
              <a:gd name="connsiteX9" fmla="*/ 72720 w 633760"/>
              <a:gd name="connsiteY9" fmla="*/ 929070 h 985775"/>
              <a:gd name="connsiteX10" fmla="*/ 61654 w 633760"/>
              <a:gd name="connsiteY10" fmla="*/ 718740 h 985775"/>
              <a:gd name="connsiteX11" fmla="*/ 3975 w 633760"/>
              <a:gd name="connsiteY11" fmla="*/ 603181 h 985775"/>
              <a:gd name="connsiteX12" fmla="*/ 5743 w 633760"/>
              <a:gd name="connsiteY12" fmla="*/ 342879 h 985775"/>
              <a:gd name="connsiteX13" fmla="*/ 11595 w 633760"/>
              <a:gd name="connsiteY13" fmla="*/ 62219 h 985775"/>
              <a:gd name="connsiteX14" fmla="*/ 122074 w 633760"/>
              <a:gd name="connsiteY14" fmla="*/ 12700 h 985775"/>
              <a:gd name="connsiteX0" fmla="*/ 122074 w 1213095"/>
              <a:gd name="connsiteY0" fmla="*/ 12700 h 985775"/>
              <a:gd name="connsiteX1" fmla="*/ 483213 w 1213095"/>
              <a:gd name="connsiteY1" fmla="*/ 0 h 985775"/>
              <a:gd name="connsiteX2" fmla="*/ 617099 w 1213095"/>
              <a:gd name="connsiteY2" fmla="*/ 179059 h 985775"/>
              <a:gd name="connsiteX3" fmla="*/ 1213095 w 1213095"/>
              <a:gd name="connsiteY3" fmla="*/ 577781 h 985775"/>
              <a:gd name="connsiteX4" fmla="*/ 592439 w 1213095"/>
              <a:gd name="connsiteY4" fmla="*/ 622220 h 985775"/>
              <a:gd name="connsiteX5" fmla="*/ 592471 w 1213095"/>
              <a:gd name="connsiteY5" fmla="*/ 721280 h 985775"/>
              <a:gd name="connsiteX6" fmla="*/ 592471 w 1213095"/>
              <a:gd name="connsiteY6" fmla="*/ 917005 h 985775"/>
              <a:gd name="connsiteX7" fmla="*/ 527511 w 1213095"/>
              <a:gd name="connsiteY7" fmla="*/ 981965 h 985775"/>
              <a:gd name="connsiteX8" fmla="*/ 197194 w 1213095"/>
              <a:gd name="connsiteY8" fmla="*/ 985775 h 985775"/>
              <a:gd name="connsiteX9" fmla="*/ 72720 w 1213095"/>
              <a:gd name="connsiteY9" fmla="*/ 929070 h 985775"/>
              <a:gd name="connsiteX10" fmla="*/ 61654 w 1213095"/>
              <a:gd name="connsiteY10" fmla="*/ 718740 h 985775"/>
              <a:gd name="connsiteX11" fmla="*/ 3975 w 1213095"/>
              <a:gd name="connsiteY11" fmla="*/ 603181 h 985775"/>
              <a:gd name="connsiteX12" fmla="*/ 5743 w 1213095"/>
              <a:gd name="connsiteY12" fmla="*/ 342879 h 985775"/>
              <a:gd name="connsiteX13" fmla="*/ 11595 w 1213095"/>
              <a:gd name="connsiteY13" fmla="*/ 62219 h 985775"/>
              <a:gd name="connsiteX14" fmla="*/ 122074 w 1213095"/>
              <a:gd name="connsiteY14" fmla="*/ 12700 h 985775"/>
              <a:gd name="connsiteX0" fmla="*/ 122074 w 1213095"/>
              <a:gd name="connsiteY0" fmla="*/ 12700 h 985775"/>
              <a:gd name="connsiteX1" fmla="*/ 483213 w 1213095"/>
              <a:gd name="connsiteY1" fmla="*/ 0 h 985775"/>
              <a:gd name="connsiteX2" fmla="*/ 617099 w 1213095"/>
              <a:gd name="connsiteY2" fmla="*/ 179059 h 985775"/>
              <a:gd name="connsiteX3" fmla="*/ 1213095 w 1213095"/>
              <a:gd name="connsiteY3" fmla="*/ 577781 h 985775"/>
              <a:gd name="connsiteX4" fmla="*/ 737446 w 1213095"/>
              <a:gd name="connsiteY4" fmla="*/ 664892 h 985775"/>
              <a:gd name="connsiteX5" fmla="*/ 592471 w 1213095"/>
              <a:gd name="connsiteY5" fmla="*/ 721280 h 985775"/>
              <a:gd name="connsiteX6" fmla="*/ 592471 w 1213095"/>
              <a:gd name="connsiteY6" fmla="*/ 917005 h 985775"/>
              <a:gd name="connsiteX7" fmla="*/ 527511 w 1213095"/>
              <a:gd name="connsiteY7" fmla="*/ 981965 h 985775"/>
              <a:gd name="connsiteX8" fmla="*/ 197194 w 1213095"/>
              <a:gd name="connsiteY8" fmla="*/ 985775 h 985775"/>
              <a:gd name="connsiteX9" fmla="*/ 72720 w 1213095"/>
              <a:gd name="connsiteY9" fmla="*/ 929070 h 985775"/>
              <a:gd name="connsiteX10" fmla="*/ 61654 w 1213095"/>
              <a:gd name="connsiteY10" fmla="*/ 718740 h 985775"/>
              <a:gd name="connsiteX11" fmla="*/ 3975 w 1213095"/>
              <a:gd name="connsiteY11" fmla="*/ 603181 h 985775"/>
              <a:gd name="connsiteX12" fmla="*/ 5743 w 1213095"/>
              <a:gd name="connsiteY12" fmla="*/ 342879 h 985775"/>
              <a:gd name="connsiteX13" fmla="*/ 11595 w 1213095"/>
              <a:gd name="connsiteY13" fmla="*/ 62219 h 985775"/>
              <a:gd name="connsiteX14" fmla="*/ 122074 w 1213095"/>
              <a:gd name="connsiteY14" fmla="*/ 12700 h 985775"/>
              <a:gd name="connsiteX0" fmla="*/ 122074 w 1213095"/>
              <a:gd name="connsiteY0" fmla="*/ 12700 h 985775"/>
              <a:gd name="connsiteX1" fmla="*/ 483213 w 1213095"/>
              <a:gd name="connsiteY1" fmla="*/ 0 h 985775"/>
              <a:gd name="connsiteX2" fmla="*/ 617099 w 1213095"/>
              <a:gd name="connsiteY2" fmla="*/ 179059 h 985775"/>
              <a:gd name="connsiteX3" fmla="*/ 1213095 w 1213095"/>
              <a:gd name="connsiteY3" fmla="*/ 577781 h 985775"/>
              <a:gd name="connsiteX4" fmla="*/ 737446 w 1213095"/>
              <a:gd name="connsiteY4" fmla="*/ 664892 h 985775"/>
              <a:gd name="connsiteX5" fmla="*/ 592471 w 1213095"/>
              <a:gd name="connsiteY5" fmla="*/ 721280 h 985775"/>
              <a:gd name="connsiteX6" fmla="*/ 592471 w 1213095"/>
              <a:gd name="connsiteY6" fmla="*/ 917005 h 985775"/>
              <a:gd name="connsiteX7" fmla="*/ 527511 w 1213095"/>
              <a:gd name="connsiteY7" fmla="*/ 981965 h 985775"/>
              <a:gd name="connsiteX8" fmla="*/ 197194 w 1213095"/>
              <a:gd name="connsiteY8" fmla="*/ 985775 h 985775"/>
              <a:gd name="connsiteX9" fmla="*/ 72720 w 1213095"/>
              <a:gd name="connsiteY9" fmla="*/ 929070 h 985775"/>
              <a:gd name="connsiteX10" fmla="*/ 61654 w 1213095"/>
              <a:gd name="connsiteY10" fmla="*/ 718740 h 985775"/>
              <a:gd name="connsiteX11" fmla="*/ 3975 w 1213095"/>
              <a:gd name="connsiteY11" fmla="*/ 603181 h 985775"/>
              <a:gd name="connsiteX12" fmla="*/ 5743 w 1213095"/>
              <a:gd name="connsiteY12" fmla="*/ 342879 h 985775"/>
              <a:gd name="connsiteX13" fmla="*/ 11595 w 1213095"/>
              <a:gd name="connsiteY13" fmla="*/ 62219 h 985775"/>
              <a:gd name="connsiteX14" fmla="*/ 122074 w 1213095"/>
              <a:gd name="connsiteY14" fmla="*/ 12700 h 985775"/>
              <a:gd name="connsiteX0" fmla="*/ 122074 w 1213095"/>
              <a:gd name="connsiteY0" fmla="*/ 12700 h 985775"/>
              <a:gd name="connsiteX1" fmla="*/ 483213 w 1213095"/>
              <a:gd name="connsiteY1" fmla="*/ 0 h 985775"/>
              <a:gd name="connsiteX2" fmla="*/ 617099 w 1213095"/>
              <a:gd name="connsiteY2" fmla="*/ 179059 h 985775"/>
              <a:gd name="connsiteX3" fmla="*/ 1213095 w 1213095"/>
              <a:gd name="connsiteY3" fmla="*/ 577781 h 985775"/>
              <a:gd name="connsiteX4" fmla="*/ 737446 w 1213095"/>
              <a:gd name="connsiteY4" fmla="*/ 664892 h 985775"/>
              <a:gd name="connsiteX5" fmla="*/ 592471 w 1213095"/>
              <a:gd name="connsiteY5" fmla="*/ 721280 h 985775"/>
              <a:gd name="connsiteX6" fmla="*/ 592471 w 1213095"/>
              <a:gd name="connsiteY6" fmla="*/ 917005 h 985775"/>
              <a:gd name="connsiteX7" fmla="*/ 527511 w 1213095"/>
              <a:gd name="connsiteY7" fmla="*/ 981965 h 985775"/>
              <a:gd name="connsiteX8" fmla="*/ 197194 w 1213095"/>
              <a:gd name="connsiteY8" fmla="*/ 985775 h 985775"/>
              <a:gd name="connsiteX9" fmla="*/ 72720 w 1213095"/>
              <a:gd name="connsiteY9" fmla="*/ 929070 h 985775"/>
              <a:gd name="connsiteX10" fmla="*/ 61654 w 1213095"/>
              <a:gd name="connsiteY10" fmla="*/ 718740 h 985775"/>
              <a:gd name="connsiteX11" fmla="*/ 3975 w 1213095"/>
              <a:gd name="connsiteY11" fmla="*/ 603181 h 985775"/>
              <a:gd name="connsiteX12" fmla="*/ 5743 w 1213095"/>
              <a:gd name="connsiteY12" fmla="*/ 342879 h 985775"/>
              <a:gd name="connsiteX13" fmla="*/ 11595 w 1213095"/>
              <a:gd name="connsiteY13" fmla="*/ 62219 h 985775"/>
              <a:gd name="connsiteX14" fmla="*/ 122074 w 1213095"/>
              <a:gd name="connsiteY14" fmla="*/ 12700 h 985775"/>
              <a:gd name="connsiteX0" fmla="*/ 122074 w 1228292"/>
              <a:gd name="connsiteY0" fmla="*/ 12700 h 985775"/>
              <a:gd name="connsiteX1" fmla="*/ 483213 w 1228292"/>
              <a:gd name="connsiteY1" fmla="*/ 0 h 985775"/>
              <a:gd name="connsiteX2" fmla="*/ 617099 w 1228292"/>
              <a:gd name="connsiteY2" fmla="*/ 179059 h 985775"/>
              <a:gd name="connsiteX3" fmla="*/ 1213095 w 1228292"/>
              <a:gd name="connsiteY3" fmla="*/ 577781 h 985775"/>
              <a:gd name="connsiteX4" fmla="*/ 737446 w 1228292"/>
              <a:gd name="connsiteY4" fmla="*/ 664892 h 985775"/>
              <a:gd name="connsiteX5" fmla="*/ 592471 w 1228292"/>
              <a:gd name="connsiteY5" fmla="*/ 721280 h 985775"/>
              <a:gd name="connsiteX6" fmla="*/ 592471 w 1228292"/>
              <a:gd name="connsiteY6" fmla="*/ 917005 h 985775"/>
              <a:gd name="connsiteX7" fmla="*/ 527511 w 1228292"/>
              <a:gd name="connsiteY7" fmla="*/ 981965 h 985775"/>
              <a:gd name="connsiteX8" fmla="*/ 197194 w 1228292"/>
              <a:gd name="connsiteY8" fmla="*/ 985775 h 985775"/>
              <a:gd name="connsiteX9" fmla="*/ 72720 w 1228292"/>
              <a:gd name="connsiteY9" fmla="*/ 929070 h 985775"/>
              <a:gd name="connsiteX10" fmla="*/ 61654 w 1228292"/>
              <a:gd name="connsiteY10" fmla="*/ 718740 h 985775"/>
              <a:gd name="connsiteX11" fmla="*/ 3975 w 1228292"/>
              <a:gd name="connsiteY11" fmla="*/ 603181 h 985775"/>
              <a:gd name="connsiteX12" fmla="*/ 5743 w 1228292"/>
              <a:gd name="connsiteY12" fmla="*/ 342879 h 985775"/>
              <a:gd name="connsiteX13" fmla="*/ 11595 w 1228292"/>
              <a:gd name="connsiteY13" fmla="*/ 62219 h 985775"/>
              <a:gd name="connsiteX14" fmla="*/ 122074 w 1228292"/>
              <a:gd name="connsiteY14" fmla="*/ 12700 h 985775"/>
              <a:gd name="connsiteX0" fmla="*/ 122074 w 1228292"/>
              <a:gd name="connsiteY0" fmla="*/ 12700 h 985775"/>
              <a:gd name="connsiteX1" fmla="*/ 483213 w 1228292"/>
              <a:gd name="connsiteY1" fmla="*/ 0 h 985775"/>
              <a:gd name="connsiteX2" fmla="*/ 617099 w 1228292"/>
              <a:gd name="connsiteY2" fmla="*/ 179059 h 985775"/>
              <a:gd name="connsiteX3" fmla="*/ 1213095 w 1228292"/>
              <a:gd name="connsiteY3" fmla="*/ 577781 h 985775"/>
              <a:gd name="connsiteX4" fmla="*/ 737446 w 1228292"/>
              <a:gd name="connsiteY4" fmla="*/ 664892 h 985775"/>
              <a:gd name="connsiteX5" fmla="*/ 592471 w 1228292"/>
              <a:gd name="connsiteY5" fmla="*/ 721280 h 985775"/>
              <a:gd name="connsiteX6" fmla="*/ 592471 w 1228292"/>
              <a:gd name="connsiteY6" fmla="*/ 917005 h 985775"/>
              <a:gd name="connsiteX7" fmla="*/ 527511 w 1228292"/>
              <a:gd name="connsiteY7" fmla="*/ 981965 h 985775"/>
              <a:gd name="connsiteX8" fmla="*/ 197194 w 1228292"/>
              <a:gd name="connsiteY8" fmla="*/ 985775 h 985775"/>
              <a:gd name="connsiteX9" fmla="*/ 72720 w 1228292"/>
              <a:gd name="connsiteY9" fmla="*/ 929070 h 985775"/>
              <a:gd name="connsiteX10" fmla="*/ 61654 w 1228292"/>
              <a:gd name="connsiteY10" fmla="*/ 718740 h 985775"/>
              <a:gd name="connsiteX11" fmla="*/ 3975 w 1228292"/>
              <a:gd name="connsiteY11" fmla="*/ 603181 h 985775"/>
              <a:gd name="connsiteX12" fmla="*/ 5743 w 1228292"/>
              <a:gd name="connsiteY12" fmla="*/ 342879 h 985775"/>
              <a:gd name="connsiteX13" fmla="*/ 11595 w 1228292"/>
              <a:gd name="connsiteY13" fmla="*/ 62219 h 985775"/>
              <a:gd name="connsiteX14" fmla="*/ 122074 w 1228292"/>
              <a:gd name="connsiteY14" fmla="*/ 12700 h 985775"/>
              <a:gd name="connsiteX0" fmla="*/ 122074 w 1583817"/>
              <a:gd name="connsiteY0" fmla="*/ 12700 h 985775"/>
              <a:gd name="connsiteX1" fmla="*/ 483213 w 1583817"/>
              <a:gd name="connsiteY1" fmla="*/ 0 h 985775"/>
              <a:gd name="connsiteX2" fmla="*/ 1583814 w 1583817"/>
              <a:gd name="connsiteY2" fmla="*/ 288787 h 985775"/>
              <a:gd name="connsiteX3" fmla="*/ 1213095 w 1583817"/>
              <a:gd name="connsiteY3" fmla="*/ 577781 h 985775"/>
              <a:gd name="connsiteX4" fmla="*/ 737446 w 1583817"/>
              <a:gd name="connsiteY4" fmla="*/ 664892 h 985775"/>
              <a:gd name="connsiteX5" fmla="*/ 592471 w 1583817"/>
              <a:gd name="connsiteY5" fmla="*/ 721280 h 985775"/>
              <a:gd name="connsiteX6" fmla="*/ 592471 w 1583817"/>
              <a:gd name="connsiteY6" fmla="*/ 917005 h 985775"/>
              <a:gd name="connsiteX7" fmla="*/ 527511 w 1583817"/>
              <a:gd name="connsiteY7" fmla="*/ 981965 h 985775"/>
              <a:gd name="connsiteX8" fmla="*/ 197194 w 1583817"/>
              <a:gd name="connsiteY8" fmla="*/ 985775 h 985775"/>
              <a:gd name="connsiteX9" fmla="*/ 72720 w 1583817"/>
              <a:gd name="connsiteY9" fmla="*/ 929070 h 985775"/>
              <a:gd name="connsiteX10" fmla="*/ 61654 w 1583817"/>
              <a:gd name="connsiteY10" fmla="*/ 718740 h 985775"/>
              <a:gd name="connsiteX11" fmla="*/ 3975 w 1583817"/>
              <a:gd name="connsiteY11" fmla="*/ 603181 h 985775"/>
              <a:gd name="connsiteX12" fmla="*/ 5743 w 1583817"/>
              <a:gd name="connsiteY12" fmla="*/ 342879 h 985775"/>
              <a:gd name="connsiteX13" fmla="*/ 11595 w 1583817"/>
              <a:gd name="connsiteY13" fmla="*/ 62219 h 985775"/>
              <a:gd name="connsiteX14" fmla="*/ 122074 w 1583817"/>
              <a:gd name="connsiteY14" fmla="*/ 12700 h 985775"/>
              <a:gd name="connsiteX0" fmla="*/ 122074 w 1583817"/>
              <a:gd name="connsiteY0" fmla="*/ 18796 h 991871"/>
              <a:gd name="connsiteX1" fmla="*/ 1482153 w 1583817"/>
              <a:gd name="connsiteY1" fmla="*/ 0 h 991871"/>
              <a:gd name="connsiteX2" fmla="*/ 1583814 w 1583817"/>
              <a:gd name="connsiteY2" fmla="*/ 294883 h 991871"/>
              <a:gd name="connsiteX3" fmla="*/ 1213095 w 1583817"/>
              <a:gd name="connsiteY3" fmla="*/ 583877 h 991871"/>
              <a:gd name="connsiteX4" fmla="*/ 737446 w 1583817"/>
              <a:gd name="connsiteY4" fmla="*/ 670988 h 991871"/>
              <a:gd name="connsiteX5" fmla="*/ 592471 w 1583817"/>
              <a:gd name="connsiteY5" fmla="*/ 727376 h 991871"/>
              <a:gd name="connsiteX6" fmla="*/ 592471 w 1583817"/>
              <a:gd name="connsiteY6" fmla="*/ 923101 h 991871"/>
              <a:gd name="connsiteX7" fmla="*/ 527511 w 1583817"/>
              <a:gd name="connsiteY7" fmla="*/ 988061 h 991871"/>
              <a:gd name="connsiteX8" fmla="*/ 197194 w 1583817"/>
              <a:gd name="connsiteY8" fmla="*/ 991871 h 991871"/>
              <a:gd name="connsiteX9" fmla="*/ 72720 w 1583817"/>
              <a:gd name="connsiteY9" fmla="*/ 935166 h 991871"/>
              <a:gd name="connsiteX10" fmla="*/ 61654 w 1583817"/>
              <a:gd name="connsiteY10" fmla="*/ 724836 h 991871"/>
              <a:gd name="connsiteX11" fmla="*/ 3975 w 1583817"/>
              <a:gd name="connsiteY11" fmla="*/ 609277 h 991871"/>
              <a:gd name="connsiteX12" fmla="*/ 5743 w 1583817"/>
              <a:gd name="connsiteY12" fmla="*/ 348975 h 991871"/>
              <a:gd name="connsiteX13" fmla="*/ 11595 w 1583817"/>
              <a:gd name="connsiteY13" fmla="*/ 68315 h 991871"/>
              <a:gd name="connsiteX14" fmla="*/ 122074 w 1583817"/>
              <a:gd name="connsiteY14" fmla="*/ 18796 h 991871"/>
              <a:gd name="connsiteX0" fmla="*/ 1040454 w 1583817"/>
              <a:gd name="connsiteY0" fmla="*/ 0 h 997459"/>
              <a:gd name="connsiteX1" fmla="*/ 1482153 w 1583817"/>
              <a:gd name="connsiteY1" fmla="*/ 5588 h 997459"/>
              <a:gd name="connsiteX2" fmla="*/ 1583814 w 1583817"/>
              <a:gd name="connsiteY2" fmla="*/ 300471 h 997459"/>
              <a:gd name="connsiteX3" fmla="*/ 1213095 w 1583817"/>
              <a:gd name="connsiteY3" fmla="*/ 589465 h 997459"/>
              <a:gd name="connsiteX4" fmla="*/ 737446 w 1583817"/>
              <a:gd name="connsiteY4" fmla="*/ 676576 h 997459"/>
              <a:gd name="connsiteX5" fmla="*/ 592471 w 1583817"/>
              <a:gd name="connsiteY5" fmla="*/ 732964 h 997459"/>
              <a:gd name="connsiteX6" fmla="*/ 592471 w 1583817"/>
              <a:gd name="connsiteY6" fmla="*/ 928689 h 997459"/>
              <a:gd name="connsiteX7" fmla="*/ 527511 w 1583817"/>
              <a:gd name="connsiteY7" fmla="*/ 993649 h 997459"/>
              <a:gd name="connsiteX8" fmla="*/ 197194 w 1583817"/>
              <a:gd name="connsiteY8" fmla="*/ 997459 h 997459"/>
              <a:gd name="connsiteX9" fmla="*/ 72720 w 1583817"/>
              <a:gd name="connsiteY9" fmla="*/ 940754 h 997459"/>
              <a:gd name="connsiteX10" fmla="*/ 61654 w 1583817"/>
              <a:gd name="connsiteY10" fmla="*/ 730424 h 997459"/>
              <a:gd name="connsiteX11" fmla="*/ 3975 w 1583817"/>
              <a:gd name="connsiteY11" fmla="*/ 614865 h 997459"/>
              <a:gd name="connsiteX12" fmla="*/ 5743 w 1583817"/>
              <a:gd name="connsiteY12" fmla="*/ 354563 h 997459"/>
              <a:gd name="connsiteX13" fmla="*/ 11595 w 1583817"/>
              <a:gd name="connsiteY13" fmla="*/ 73903 h 997459"/>
              <a:gd name="connsiteX14" fmla="*/ 1040454 w 1583817"/>
              <a:gd name="connsiteY14" fmla="*/ 0 h 997459"/>
              <a:gd name="connsiteX0" fmla="*/ 1040454 w 1583817"/>
              <a:gd name="connsiteY0" fmla="*/ 0 h 997459"/>
              <a:gd name="connsiteX1" fmla="*/ 1482153 w 1583817"/>
              <a:gd name="connsiteY1" fmla="*/ 5588 h 997459"/>
              <a:gd name="connsiteX2" fmla="*/ 1583814 w 1583817"/>
              <a:gd name="connsiteY2" fmla="*/ 300471 h 997459"/>
              <a:gd name="connsiteX3" fmla="*/ 1213095 w 1583817"/>
              <a:gd name="connsiteY3" fmla="*/ 589465 h 997459"/>
              <a:gd name="connsiteX4" fmla="*/ 737446 w 1583817"/>
              <a:gd name="connsiteY4" fmla="*/ 676576 h 997459"/>
              <a:gd name="connsiteX5" fmla="*/ 592471 w 1583817"/>
              <a:gd name="connsiteY5" fmla="*/ 732964 h 997459"/>
              <a:gd name="connsiteX6" fmla="*/ 592471 w 1583817"/>
              <a:gd name="connsiteY6" fmla="*/ 928689 h 997459"/>
              <a:gd name="connsiteX7" fmla="*/ 527511 w 1583817"/>
              <a:gd name="connsiteY7" fmla="*/ 993649 h 997459"/>
              <a:gd name="connsiteX8" fmla="*/ 197194 w 1583817"/>
              <a:gd name="connsiteY8" fmla="*/ 997459 h 997459"/>
              <a:gd name="connsiteX9" fmla="*/ 72720 w 1583817"/>
              <a:gd name="connsiteY9" fmla="*/ 940754 h 997459"/>
              <a:gd name="connsiteX10" fmla="*/ 61654 w 1583817"/>
              <a:gd name="connsiteY10" fmla="*/ 730424 h 997459"/>
              <a:gd name="connsiteX11" fmla="*/ 3975 w 1583817"/>
              <a:gd name="connsiteY11" fmla="*/ 614865 h 997459"/>
              <a:gd name="connsiteX12" fmla="*/ 5743 w 1583817"/>
              <a:gd name="connsiteY12" fmla="*/ 354563 h 997459"/>
              <a:gd name="connsiteX13" fmla="*/ 994423 w 1583817"/>
              <a:gd name="connsiteY13" fmla="*/ 147055 h 997459"/>
              <a:gd name="connsiteX14" fmla="*/ 1040454 w 1583817"/>
              <a:gd name="connsiteY14" fmla="*/ 0 h 997459"/>
              <a:gd name="connsiteX0" fmla="*/ 1036746 w 1580109"/>
              <a:gd name="connsiteY0" fmla="*/ 0 h 997459"/>
              <a:gd name="connsiteX1" fmla="*/ 1478445 w 1580109"/>
              <a:gd name="connsiteY1" fmla="*/ 5588 h 997459"/>
              <a:gd name="connsiteX2" fmla="*/ 1580106 w 1580109"/>
              <a:gd name="connsiteY2" fmla="*/ 300471 h 997459"/>
              <a:gd name="connsiteX3" fmla="*/ 1209387 w 1580109"/>
              <a:gd name="connsiteY3" fmla="*/ 589465 h 997459"/>
              <a:gd name="connsiteX4" fmla="*/ 733738 w 1580109"/>
              <a:gd name="connsiteY4" fmla="*/ 676576 h 997459"/>
              <a:gd name="connsiteX5" fmla="*/ 588763 w 1580109"/>
              <a:gd name="connsiteY5" fmla="*/ 732964 h 997459"/>
              <a:gd name="connsiteX6" fmla="*/ 588763 w 1580109"/>
              <a:gd name="connsiteY6" fmla="*/ 928689 h 997459"/>
              <a:gd name="connsiteX7" fmla="*/ 523803 w 1580109"/>
              <a:gd name="connsiteY7" fmla="*/ 993649 h 997459"/>
              <a:gd name="connsiteX8" fmla="*/ 193486 w 1580109"/>
              <a:gd name="connsiteY8" fmla="*/ 997459 h 997459"/>
              <a:gd name="connsiteX9" fmla="*/ 69012 w 1580109"/>
              <a:gd name="connsiteY9" fmla="*/ 940754 h 997459"/>
              <a:gd name="connsiteX10" fmla="*/ 57946 w 1580109"/>
              <a:gd name="connsiteY10" fmla="*/ 730424 h 997459"/>
              <a:gd name="connsiteX11" fmla="*/ 267 w 1580109"/>
              <a:gd name="connsiteY11" fmla="*/ 614865 h 997459"/>
              <a:gd name="connsiteX12" fmla="*/ 872080 w 1580109"/>
              <a:gd name="connsiteY12" fmla="*/ 348467 h 997459"/>
              <a:gd name="connsiteX13" fmla="*/ 990715 w 1580109"/>
              <a:gd name="connsiteY13" fmla="*/ 147055 h 997459"/>
              <a:gd name="connsiteX14" fmla="*/ 1036746 w 1580109"/>
              <a:gd name="connsiteY14" fmla="*/ 0 h 997459"/>
              <a:gd name="connsiteX0" fmla="*/ 996461 w 1539824"/>
              <a:gd name="connsiteY0" fmla="*/ 0 h 997459"/>
              <a:gd name="connsiteX1" fmla="*/ 1438160 w 1539824"/>
              <a:gd name="connsiteY1" fmla="*/ 5588 h 997459"/>
              <a:gd name="connsiteX2" fmla="*/ 1539821 w 1539824"/>
              <a:gd name="connsiteY2" fmla="*/ 300471 h 997459"/>
              <a:gd name="connsiteX3" fmla="*/ 1169102 w 1539824"/>
              <a:gd name="connsiteY3" fmla="*/ 589465 h 997459"/>
              <a:gd name="connsiteX4" fmla="*/ 693453 w 1539824"/>
              <a:gd name="connsiteY4" fmla="*/ 676576 h 997459"/>
              <a:gd name="connsiteX5" fmla="*/ 548478 w 1539824"/>
              <a:gd name="connsiteY5" fmla="*/ 732964 h 997459"/>
              <a:gd name="connsiteX6" fmla="*/ 548478 w 1539824"/>
              <a:gd name="connsiteY6" fmla="*/ 928689 h 997459"/>
              <a:gd name="connsiteX7" fmla="*/ 483518 w 1539824"/>
              <a:gd name="connsiteY7" fmla="*/ 993649 h 997459"/>
              <a:gd name="connsiteX8" fmla="*/ 153201 w 1539824"/>
              <a:gd name="connsiteY8" fmla="*/ 997459 h 997459"/>
              <a:gd name="connsiteX9" fmla="*/ 28727 w 1539824"/>
              <a:gd name="connsiteY9" fmla="*/ 940754 h 997459"/>
              <a:gd name="connsiteX10" fmla="*/ 17661 w 1539824"/>
              <a:gd name="connsiteY10" fmla="*/ 730424 h 997459"/>
              <a:gd name="connsiteX11" fmla="*/ 88877 w 1539824"/>
              <a:gd name="connsiteY11" fmla="*/ 517329 h 997459"/>
              <a:gd name="connsiteX12" fmla="*/ 831795 w 1539824"/>
              <a:gd name="connsiteY12" fmla="*/ 348467 h 997459"/>
              <a:gd name="connsiteX13" fmla="*/ 950430 w 1539824"/>
              <a:gd name="connsiteY13" fmla="*/ 147055 h 997459"/>
              <a:gd name="connsiteX14" fmla="*/ 996461 w 1539824"/>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60101 w 1549495"/>
              <a:gd name="connsiteY13" fmla="*/ 147055 h 997459"/>
              <a:gd name="connsiteX14" fmla="*/ 1006132 w 1549495"/>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60101 w 1549495"/>
              <a:gd name="connsiteY13" fmla="*/ 147055 h 997459"/>
              <a:gd name="connsiteX14" fmla="*/ 1006132 w 1549495"/>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60101 w 1549495"/>
              <a:gd name="connsiteY13" fmla="*/ 147055 h 997459"/>
              <a:gd name="connsiteX14" fmla="*/ 1006132 w 1549495"/>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60101 w 1549495"/>
              <a:gd name="connsiteY13" fmla="*/ 147055 h 997459"/>
              <a:gd name="connsiteX14" fmla="*/ 1006132 w 1549495"/>
              <a:gd name="connsiteY14" fmla="*/ 0 h 997459"/>
              <a:gd name="connsiteX0" fmla="*/ 1006132 w 1549495"/>
              <a:gd name="connsiteY0" fmla="*/ 0 h 997459"/>
              <a:gd name="connsiteX1" fmla="*/ 1447831 w 1549495"/>
              <a:gd name="connsiteY1" fmla="*/ 5588 h 997459"/>
              <a:gd name="connsiteX2" fmla="*/ 1549492 w 1549495"/>
              <a:gd name="connsiteY2" fmla="*/ 300471 h 997459"/>
              <a:gd name="connsiteX3" fmla="*/ 1178773 w 1549495"/>
              <a:gd name="connsiteY3" fmla="*/ 589465 h 997459"/>
              <a:gd name="connsiteX4" fmla="*/ 703124 w 1549495"/>
              <a:gd name="connsiteY4" fmla="*/ 676576 h 997459"/>
              <a:gd name="connsiteX5" fmla="*/ 558149 w 1549495"/>
              <a:gd name="connsiteY5" fmla="*/ 732964 h 997459"/>
              <a:gd name="connsiteX6" fmla="*/ 558149 w 1549495"/>
              <a:gd name="connsiteY6" fmla="*/ 928689 h 997459"/>
              <a:gd name="connsiteX7" fmla="*/ 493189 w 1549495"/>
              <a:gd name="connsiteY7" fmla="*/ 993649 h 997459"/>
              <a:gd name="connsiteX8" fmla="*/ 162872 w 1549495"/>
              <a:gd name="connsiteY8" fmla="*/ 997459 h 997459"/>
              <a:gd name="connsiteX9" fmla="*/ 38398 w 1549495"/>
              <a:gd name="connsiteY9" fmla="*/ 940754 h 997459"/>
              <a:gd name="connsiteX10" fmla="*/ 27332 w 1549495"/>
              <a:gd name="connsiteY10" fmla="*/ 730424 h 997459"/>
              <a:gd name="connsiteX11" fmla="*/ 34101 w 1549495"/>
              <a:gd name="connsiteY11" fmla="*/ 517329 h 997459"/>
              <a:gd name="connsiteX12" fmla="*/ 841466 w 1549495"/>
              <a:gd name="connsiteY12" fmla="*/ 348467 h 997459"/>
              <a:gd name="connsiteX13" fmla="*/ 943989 w 1549495"/>
              <a:gd name="connsiteY13" fmla="*/ 116575 h 997459"/>
              <a:gd name="connsiteX14" fmla="*/ 1006132 w 1549495"/>
              <a:gd name="connsiteY14" fmla="*/ 0 h 99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9495" h="997459">
                <a:moveTo>
                  <a:pt x="1006132" y="0"/>
                </a:moveTo>
                <a:lnTo>
                  <a:pt x="1447831" y="5588"/>
                </a:lnTo>
                <a:cubicBezTo>
                  <a:pt x="1513055" y="5588"/>
                  <a:pt x="1549492" y="235247"/>
                  <a:pt x="1549492" y="300471"/>
                </a:cubicBezTo>
                <a:cubicBezTo>
                  <a:pt x="1550339" y="396125"/>
                  <a:pt x="1306823" y="463331"/>
                  <a:pt x="1178773" y="589465"/>
                </a:cubicBezTo>
                <a:cubicBezTo>
                  <a:pt x="1001541" y="654689"/>
                  <a:pt x="978674" y="660320"/>
                  <a:pt x="703124" y="676576"/>
                </a:cubicBezTo>
                <a:cubicBezTo>
                  <a:pt x="477568" y="703500"/>
                  <a:pt x="558138" y="699944"/>
                  <a:pt x="558149" y="732964"/>
                </a:cubicBezTo>
                <a:lnTo>
                  <a:pt x="558149" y="928689"/>
                </a:lnTo>
                <a:cubicBezTo>
                  <a:pt x="558149" y="964565"/>
                  <a:pt x="529065" y="993649"/>
                  <a:pt x="493189" y="993649"/>
                </a:cubicBezTo>
                <a:lnTo>
                  <a:pt x="162872" y="997459"/>
                </a:lnTo>
                <a:cubicBezTo>
                  <a:pt x="126996" y="997459"/>
                  <a:pt x="38398" y="976630"/>
                  <a:pt x="38398" y="940754"/>
                </a:cubicBezTo>
                <a:lnTo>
                  <a:pt x="27332" y="730424"/>
                </a:lnTo>
                <a:cubicBezTo>
                  <a:pt x="-37892" y="730424"/>
                  <a:pt x="34101" y="582553"/>
                  <a:pt x="34101" y="517329"/>
                </a:cubicBezTo>
                <a:cubicBezTo>
                  <a:pt x="24783" y="454686"/>
                  <a:pt x="598518" y="420339"/>
                  <a:pt x="841466" y="348467"/>
                </a:cubicBezTo>
                <a:cubicBezTo>
                  <a:pt x="987744" y="233923"/>
                  <a:pt x="989050" y="195989"/>
                  <a:pt x="943989" y="116575"/>
                </a:cubicBezTo>
                <a:cubicBezTo>
                  <a:pt x="943989" y="51351"/>
                  <a:pt x="940908" y="0"/>
                  <a:pt x="1006132"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4" name="Frihandsfigur: Form 13"/>
          <p:cNvSpPr/>
          <p:nvPr/>
        </p:nvSpPr>
        <p:spPr>
          <a:xfrm rot="1658496" flipH="1">
            <a:off x="7308306" y="3852864"/>
            <a:ext cx="301354" cy="661748"/>
          </a:xfrm>
          <a:custGeom>
            <a:avLst/>
            <a:gdLst>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30788 w 306508"/>
              <a:gd name="connsiteY10" fmla="*/ 572654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0 w 306508"/>
              <a:gd name="connsiteY11" fmla="*/ 541866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152569 w 306508"/>
              <a:gd name="connsiteY9" fmla="*/ 572654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2654"/>
              <a:gd name="connsiteX1" fmla="*/ 153939 w 306508"/>
              <a:gd name="connsiteY1" fmla="*/ 0 h 572654"/>
              <a:gd name="connsiteX2" fmla="*/ 184727 w 306508"/>
              <a:gd name="connsiteY2" fmla="*/ 30788 h 572654"/>
              <a:gd name="connsiteX3" fmla="*/ 184727 w 306508"/>
              <a:gd name="connsiteY3" fmla="*/ 294816 h 572654"/>
              <a:gd name="connsiteX4" fmla="*/ 275720 w 306508"/>
              <a:gd name="connsiteY4" fmla="*/ 294816 h 572654"/>
              <a:gd name="connsiteX5" fmla="*/ 306508 w 306508"/>
              <a:gd name="connsiteY5" fmla="*/ 325604 h 572654"/>
              <a:gd name="connsiteX6" fmla="*/ 306508 w 306508"/>
              <a:gd name="connsiteY6" fmla="*/ 541866 h 572654"/>
              <a:gd name="connsiteX7" fmla="*/ 275720 w 306508"/>
              <a:gd name="connsiteY7" fmla="*/ 572654 h 572654"/>
              <a:gd name="connsiteX8" fmla="*/ 153939 w 306508"/>
              <a:gd name="connsiteY8" fmla="*/ 572654 h 572654"/>
              <a:gd name="connsiteX9" fmla="*/ 233849 w 306508"/>
              <a:gd name="connsiteY9" fmla="*/ 570437 h 572654"/>
              <a:gd name="connsiteX10" fmla="*/ 106988 w 306508"/>
              <a:gd name="connsiteY10" fmla="*/ 441841 h 572654"/>
              <a:gd name="connsiteX11" fmla="*/ 33020 w 306508"/>
              <a:gd name="connsiteY11" fmla="*/ 329017 h 572654"/>
              <a:gd name="connsiteX12" fmla="*/ 0 w 306508"/>
              <a:gd name="connsiteY12" fmla="*/ 30788 h 572654"/>
              <a:gd name="connsiteX13" fmla="*/ 30788 w 306508"/>
              <a:gd name="connsiteY13" fmla="*/ 0 h 572654"/>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153939 w 306508"/>
              <a:gd name="connsiteY8" fmla="*/ 572654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02199 w 306508"/>
              <a:gd name="connsiteY8" fmla="*/ 570437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306508"/>
              <a:gd name="connsiteY0" fmla="*/ 0 h 574871"/>
              <a:gd name="connsiteX1" fmla="*/ 153939 w 306508"/>
              <a:gd name="connsiteY1" fmla="*/ 0 h 574871"/>
              <a:gd name="connsiteX2" fmla="*/ 184727 w 306508"/>
              <a:gd name="connsiteY2" fmla="*/ 30788 h 574871"/>
              <a:gd name="connsiteX3" fmla="*/ 184727 w 306508"/>
              <a:gd name="connsiteY3" fmla="*/ 294816 h 574871"/>
              <a:gd name="connsiteX4" fmla="*/ 275720 w 306508"/>
              <a:gd name="connsiteY4" fmla="*/ 294816 h 574871"/>
              <a:gd name="connsiteX5" fmla="*/ 306508 w 306508"/>
              <a:gd name="connsiteY5" fmla="*/ 325604 h 574871"/>
              <a:gd name="connsiteX6" fmla="*/ 306508 w 306508"/>
              <a:gd name="connsiteY6" fmla="*/ 541866 h 574871"/>
              <a:gd name="connsiteX7" fmla="*/ 275720 w 306508"/>
              <a:gd name="connsiteY7" fmla="*/ 572654 h 574871"/>
              <a:gd name="connsiteX8" fmla="*/ 222519 w 306508"/>
              <a:gd name="connsiteY8" fmla="*/ 552699 h 574871"/>
              <a:gd name="connsiteX9" fmla="*/ 249089 w 306508"/>
              <a:gd name="connsiteY9" fmla="*/ 574871 h 574871"/>
              <a:gd name="connsiteX10" fmla="*/ 106988 w 306508"/>
              <a:gd name="connsiteY10" fmla="*/ 441841 h 574871"/>
              <a:gd name="connsiteX11" fmla="*/ 33020 w 306508"/>
              <a:gd name="connsiteY11" fmla="*/ 329017 h 574871"/>
              <a:gd name="connsiteX12" fmla="*/ 0 w 306508"/>
              <a:gd name="connsiteY12" fmla="*/ 30788 h 574871"/>
              <a:gd name="connsiteX13" fmla="*/ 30788 w 30650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275720 w 409378"/>
              <a:gd name="connsiteY7" fmla="*/ 572654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4871"/>
              <a:gd name="connsiteX1" fmla="*/ 153939 w 409378"/>
              <a:gd name="connsiteY1" fmla="*/ 0 h 574871"/>
              <a:gd name="connsiteX2" fmla="*/ 184727 w 409378"/>
              <a:gd name="connsiteY2" fmla="*/ 30788 h 574871"/>
              <a:gd name="connsiteX3" fmla="*/ 184727 w 409378"/>
              <a:gd name="connsiteY3" fmla="*/ 294816 h 574871"/>
              <a:gd name="connsiteX4" fmla="*/ 275720 w 409378"/>
              <a:gd name="connsiteY4" fmla="*/ 294816 h 574871"/>
              <a:gd name="connsiteX5" fmla="*/ 306508 w 409378"/>
              <a:gd name="connsiteY5" fmla="*/ 325604 h 574871"/>
              <a:gd name="connsiteX6" fmla="*/ 409378 w 409378"/>
              <a:gd name="connsiteY6" fmla="*/ 455396 h 574871"/>
              <a:gd name="connsiteX7" fmla="*/ 361445 w 409378"/>
              <a:gd name="connsiteY7" fmla="*/ 567665 h 574871"/>
              <a:gd name="connsiteX8" fmla="*/ 222519 w 409378"/>
              <a:gd name="connsiteY8" fmla="*/ 552699 h 574871"/>
              <a:gd name="connsiteX9" fmla="*/ 249089 w 409378"/>
              <a:gd name="connsiteY9" fmla="*/ 574871 h 574871"/>
              <a:gd name="connsiteX10" fmla="*/ 106988 w 409378"/>
              <a:gd name="connsiteY10" fmla="*/ 441841 h 574871"/>
              <a:gd name="connsiteX11" fmla="*/ 33020 w 409378"/>
              <a:gd name="connsiteY11" fmla="*/ 329017 h 574871"/>
              <a:gd name="connsiteX12" fmla="*/ 0 w 409378"/>
              <a:gd name="connsiteY12" fmla="*/ 30788 h 574871"/>
              <a:gd name="connsiteX13" fmla="*/ 30788 w 409378"/>
              <a:gd name="connsiteY13" fmla="*/ 0 h 574871"/>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06988 w 409378"/>
              <a:gd name="connsiteY10" fmla="*/ 441841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33020 w 409378"/>
              <a:gd name="connsiteY11" fmla="*/ 329017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07400 h 577642"/>
              <a:gd name="connsiteX12" fmla="*/ 0 w 409378"/>
              <a:gd name="connsiteY12" fmla="*/ 30788 h 577642"/>
              <a:gd name="connsiteX13" fmla="*/ 30788 w 409378"/>
              <a:gd name="connsiteY13" fmla="*/ 0 h 577642"/>
              <a:gd name="connsiteX0" fmla="*/ 30788 w 409378"/>
              <a:gd name="connsiteY0" fmla="*/ 0 h 577642"/>
              <a:gd name="connsiteX1" fmla="*/ 153939 w 409378"/>
              <a:gd name="connsiteY1" fmla="*/ 0 h 577642"/>
              <a:gd name="connsiteX2" fmla="*/ 184727 w 409378"/>
              <a:gd name="connsiteY2" fmla="*/ 30788 h 577642"/>
              <a:gd name="connsiteX3" fmla="*/ 184727 w 409378"/>
              <a:gd name="connsiteY3" fmla="*/ 294816 h 577642"/>
              <a:gd name="connsiteX4" fmla="*/ 275720 w 409378"/>
              <a:gd name="connsiteY4" fmla="*/ 294816 h 577642"/>
              <a:gd name="connsiteX5" fmla="*/ 306508 w 409378"/>
              <a:gd name="connsiteY5" fmla="*/ 325604 h 577642"/>
              <a:gd name="connsiteX6" fmla="*/ 409378 w 409378"/>
              <a:gd name="connsiteY6" fmla="*/ 455396 h 577642"/>
              <a:gd name="connsiteX7" fmla="*/ 361445 w 409378"/>
              <a:gd name="connsiteY7" fmla="*/ 567665 h 577642"/>
              <a:gd name="connsiteX8" fmla="*/ 319674 w 409378"/>
              <a:gd name="connsiteY8" fmla="*/ 577642 h 577642"/>
              <a:gd name="connsiteX9" fmla="*/ 249089 w 409378"/>
              <a:gd name="connsiteY9" fmla="*/ 574871 h 577642"/>
              <a:gd name="connsiteX10" fmla="*/ 135563 w 409378"/>
              <a:gd name="connsiteY10" fmla="*/ 466784 h 577642"/>
              <a:gd name="connsiteX11" fmla="*/ 635 w 409378"/>
              <a:gd name="connsiteY11" fmla="*/ 330680 h 577642"/>
              <a:gd name="connsiteX12" fmla="*/ 0 w 409378"/>
              <a:gd name="connsiteY12" fmla="*/ 30788 h 577642"/>
              <a:gd name="connsiteX13" fmla="*/ 30788 w 409378"/>
              <a:gd name="connsiteY13" fmla="*/ 0 h 57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9378" h="577642">
                <a:moveTo>
                  <a:pt x="30788" y="0"/>
                </a:moveTo>
                <a:lnTo>
                  <a:pt x="153939" y="0"/>
                </a:lnTo>
                <a:cubicBezTo>
                  <a:pt x="170943" y="0"/>
                  <a:pt x="184727" y="13784"/>
                  <a:pt x="184727" y="30788"/>
                </a:cubicBezTo>
                <a:lnTo>
                  <a:pt x="184727" y="294816"/>
                </a:lnTo>
                <a:lnTo>
                  <a:pt x="275720" y="294816"/>
                </a:lnTo>
                <a:cubicBezTo>
                  <a:pt x="292724" y="294816"/>
                  <a:pt x="306508" y="308600"/>
                  <a:pt x="306508" y="325604"/>
                </a:cubicBezTo>
                <a:lnTo>
                  <a:pt x="409378" y="455396"/>
                </a:lnTo>
                <a:cubicBezTo>
                  <a:pt x="409378" y="472400"/>
                  <a:pt x="378449" y="567665"/>
                  <a:pt x="361445" y="567665"/>
                </a:cubicBezTo>
                <a:lnTo>
                  <a:pt x="319674" y="577642"/>
                </a:lnTo>
                <a:lnTo>
                  <a:pt x="249089" y="574871"/>
                </a:lnTo>
                <a:cubicBezTo>
                  <a:pt x="208495" y="574871"/>
                  <a:pt x="204097" y="537733"/>
                  <a:pt x="135563" y="466784"/>
                </a:cubicBezTo>
                <a:cubicBezTo>
                  <a:pt x="93794" y="420223"/>
                  <a:pt x="635" y="347684"/>
                  <a:pt x="635" y="330680"/>
                </a:cubicBezTo>
                <a:cubicBezTo>
                  <a:pt x="423" y="238476"/>
                  <a:pt x="212" y="122992"/>
                  <a:pt x="0" y="30788"/>
                </a:cubicBezTo>
                <a:cubicBezTo>
                  <a:pt x="0" y="13784"/>
                  <a:pt x="13784" y="0"/>
                  <a:pt x="30788" y="0"/>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Tree>
    <p:extLst>
      <p:ext uri="{BB962C8B-B14F-4D97-AF65-F5344CB8AC3E}">
        <p14:creationId xmlns:p14="http://schemas.microsoft.com/office/powerpoint/2010/main" val="1181107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en-GB" dirty="0"/>
              <a:t>Problem statement, highlighted</a:t>
            </a:r>
          </a:p>
        </p:txBody>
      </p:sp>
      <p:sp>
        <p:nvSpPr>
          <p:cNvPr id="5" name="Platshållare för innehåll 4"/>
          <p:cNvSpPr>
            <a:spLocks noGrp="1"/>
          </p:cNvSpPr>
          <p:nvPr>
            <p:ph idx="1"/>
          </p:nvPr>
        </p:nvSpPr>
        <p:spPr/>
        <p:txBody>
          <a:bodyPr/>
          <a:lstStyle/>
          <a:p>
            <a:r>
              <a:rPr lang="en-US" dirty="0"/>
              <a:t>It is possible to make small gliders with paper and to make them fly for a very long time by putting your hand below the glider during flight. </a:t>
            </a:r>
            <a:r>
              <a:rPr lang="en-US" b="1" dirty="0"/>
              <a:t>Explain</a:t>
            </a:r>
            <a:r>
              <a:rPr lang="en-US" dirty="0"/>
              <a:t> the physics behind this phenomenon and </a:t>
            </a:r>
            <a:r>
              <a:rPr lang="en-US" b="1" dirty="0"/>
              <a:t>describe the optimal set of parameters for the best control </a:t>
            </a:r>
            <a:r>
              <a:rPr lang="en-US" dirty="0"/>
              <a:t>of the glider.</a:t>
            </a:r>
            <a:endParaRPr lang="en-GB" dirty="0"/>
          </a:p>
        </p:txBody>
      </p:sp>
      <p:sp>
        <p:nvSpPr>
          <p:cNvPr id="2" name="Platshållare för datum 1"/>
          <p:cNvSpPr>
            <a:spLocks noGrp="1"/>
          </p:cNvSpPr>
          <p:nvPr>
            <p:ph type="dt" sz="half" idx="10"/>
          </p:nvPr>
        </p:nvSpPr>
        <p:spPr/>
        <p:txBody>
          <a:bodyPr/>
          <a:lstStyle/>
          <a:p>
            <a:r>
              <a:rPr lang="sv-SE"/>
              <a:t>International physicist’s tournament 2017</a:t>
            </a:r>
            <a:endParaRPr lang="en-GB"/>
          </a:p>
        </p:txBody>
      </p:sp>
      <p:sp>
        <p:nvSpPr>
          <p:cNvPr id="3" name="Platshållare för sidfot 2"/>
          <p:cNvSpPr>
            <a:spLocks noGrp="1"/>
          </p:cNvSpPr>
          <p:nvPr>
            <p:ph type="ftr" sz="quarter" idx="11"/>
          </p:nvPr>
        </p:nvSpPr>
        <p:spPr/>
        <p:txBody>
          <a:bodyPr/>
          <a:lstStyle/>
          <a:p>
            <a:r>
              <a:rPr lang="en-GB"/>
              <a:t>KTH IPT Team</a:t>
            </a:r>
          </a:p>
        </p:txBody>
      </p:sp>
      <p:sp>
        <p:nvSpPr>
          <p:cNvPr id="6" name="Platshållare för bildnummer 5"/>
          <p:cNvSpPr>
            <a:spLocks noGrp="1"/>
          </p:cNvSpPr>
          <p:nvPr>
            <p:ph type="sldNum" sz="quarter" idx="12"/>
          </p:nvPr>
        </p:nvSpPr>
        <p:spPr/>
        <p:txBody>
          <a:bodyPr/>
          <a:lstStyle/>
          <a:p>
            <a:fld id="{0A5BB9CA-7E98-491A-8EA1-ABE7E829D232}" type="slidenum">
              <a:rPr lang="en-GB" smtClean="0"/>
              <a:t>3</a:t>
            </a:fld>
            <a:endParaRPr lang="en-GB"/>
          </a:p>
        </p:txBody>
      </p:sp>
    </p:spTree>
    <p:extLst>
      <p:ext uri="{BB962C8B-B14F-4D97-AF65-F5344CB8AC3E}">
        <p14:creationId xmlns:p14="http://schemas.microsoft.com/office/powerpoint/2010/main" val="3776728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p:cNvSpPr>
            <a:spLocks noGrp="1"/>
          </p:cNvSpPr>
          <p:nvPr>
            <p:ph idx="1"/>
          </p:nvPr>
        </p:nvSpPr>
        <p:spPr/>
        <p:txBody>
          <a:bodyPr/>
          <a:lstStyle/>
          <a:p>
            <a:r>
              <a:rPr lang="en-GB" dirty="0"/>
              <a:t>Hands should be held</a:t>
            </a:r>
          </a:p>
          <a:p>
            <a:pPr marL="342900" indent="-342900">
              <a:buFontTx/>
              <a:buChar char="-"/>
            </a:pPr>
            <a:r>
              <a:rPr lang="en-GB" dirty="0" err="1"/>
              <a:t>parallell</a:t>
            </a:r>
            <a:r>
              <a:rPr lang="en-GB" dirty="0"/>
              <a:t> and vertical</a:t>
            </a:r>
          </a:p>
          <a:p>
            <a:pPr marL="342900" indent="-342900">
              <a:buFontTx/>
              <a:buChar char="-"/>
            </a:pPr>
            <a:r>
              <a:rPr lang="en-GB" dirty="0"/>
              <a:t>30 degree pitch</a:t>
            </a:r>
          </a:p>
          <a:p>
            <a:pPr marL="342900" indent="-342900">
              <a:buFontTx/>
              <a:buChar char="-"/>
            </a:pPr>
            <a:r>
              <a:rPr lang="en-GB" dirty="0"/>
              <a:t>medium curved/scooped</a:t>
            </a:r>
          </a:p>
          <a:p>
            <a:pPr marL="342900" indent="-342900">
              <a:buFontTx/>
              <a:buChar char="-"/>
            </a:pPr>
            <a:r>
              <a:rPr lang="en-GB" dirty="0"/>
              <a:t>90-120 degree angle between hands</a:t>
            </a:r>
          </a:p>
          <a:p>
            <a:pPr marL="342900" indent="-342900">
              <a:buFontTx/>
              <a:buChar char="-"/>
            </a:pPr>
            <a:r>
              <a:rPr lang="en-GB" dirty="0"/>
              <a:t>fingers kept together</a:t>
            </a:r>
          </a:p>
          <a:p>
            <a:pPr marL="342900" indent="-342900">
              <a:buFontTx/>
              <a:buChar char="-"/>
            </a:pPr>
            <a:endParaRPr lang="en-GB" dirty="0"/>
          </a:p>
        </p:txBody>
      </p:sp>
      <p:pic>
        <p:nvPicPr>
          <p:cNvPr id="8" name="Platshållare för bild 7"/>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34972" t="30226" r="11480" b="11494"/>
          <a:stretch/>
        </p:blipFill>
        <p:spPr>
          <a:xfrm rot="5400000">
            <a:off x="4851399" y="1957389"/>
            <a:ext cx="4078289" cy="3328987"/>
          </a:xfrm>
        </p:spPr>
      </p:pic>
      <p:sp>
        <p:nvSpPr>
          <p:cNvPr id="4" name="Rubrik 3"/>
          <p:cNvSpPr>
            <a:spLocks noGrp="1"/>
          </p:cNvSpPr>
          <p:nvPr>
            <p:ph type="title"/>
          </p:nvPr>
        </p:nvSpPr>
        <p:spPr/>
        <p:txBody>
          <a:bodyPr/>
          <a:lstStyle/>
          <a:p>
            <a:r>
              <a:rPr lang="en-GB" dirty="0"/>
              <a:t>Conclusions</a:t>
            </a:r>
          </a:p>
        </p:txBody>
      </p:sp>
      <p:sp>
        <p:nvSpPr>
          <p:cNvPr id="5" name="Platshållare för datum 4"/>
          <p:cNvSpPr>
            <a:spLocks noGrp="1"/>
          </p:cNvSpPr>
          <p:nvPr>
            <p:ph type="dt" sz="half" idx="10"/>
          </p:nvPr>
        </p:nvSpPr>
        <p:spPr/>
        <p:txBody>
          <a:bodyPr/>
          <a:lstStyle/>
          <a:p>
            <a:r>
              <a:rPr lang="sv-SE"/>
              <a:t>International physicist’s tournament 2017</a:t>
            </a:r>
            <a:endParaRPr lang="en-GB"/>
          </a:p>
        </p:txBody>
      </p:sp>
      <p:sp>
        <p:nvSpPr>
          <p:cNvPr id="6" name="Platshållare för bildnummer 5"/>
          <p:cNvSpPr>
            <a:spLocks noGrp="1"/>
          </p:cNvSpPr>
          <p:nvPr>
            <p:ph type="sldNum" sz="quarter" idx="12"/>
          </p:nvPr>
        </p:nvSpPr>
        <p:spPr/>
        <p:txBody>
          <a:bodyPr/>
          <a:lstStyle/>
          <a:p>
            <a:fld id="{0A5BB9CA-7E98-491A-8EA1-ABE7E829D232}" type="slidenum">
              <a:rPr lang="en-GB" smtClean="0"/>
              <a:t>30</a:t>
            </a:fld>
            <a:endParaRPr lang="en-GB"/>
          </a:p>
        </p:txBody>
      </p:sp>
      <p:sp>
        <p:nvSpPr>
          <p:cNvPr id="7" name="Platshållare för sidfot 6"/>
          <p:cNvSpPr>
            <a:spLocks noGrp="1"/>
          </p:cNvSpPr>
          <p:nvPr>
            <p:ph type="ftr" sz="quarter" idx="11"/>
          </p:nvPr>
        </p:nvSpPr>
        <p:spPr/>
        <p:txBody>
          <a:bodyPr/>
          <a:lstStyle/>
          <a:p>
            <a:r>
              <a:rPr lang="en-GB"/>
              <a:t>KTH IPT Team</a:t>
            </a:r>
          </a:p>
        </p:txBody>
      </p:sp>
    </p:spTree>
    <p:extLst>
      <p:ext uri="{BB962C8B-B14F-4D97-AF65-F5344CB8AC3E}">
        <p14:creationId xmlns:p14="http://schemas.microsoft.com/office/powerpoint/2010/main" val="4397191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ihandsfigur: Form 17"/>
          <p:cNvSpPr/>
          <p:nvPr/>
        </p:nvSpPr>
        <p:spPr>
          <a:xfrm>
            <a:off x="6702583" y="2099353"/>
            <a:ext cx="512324" cy="619838"/>
          </a:xfrm>
          <a:custGeom>
            <a:avLst/>
            <a:gdLst>
              <a:gd name="connsiteX0" fmla="*/ 272256 w 512324"/>
              <a:gd name="connsiteY0" fmla="*/ 0 h 619838"/>
              <a:gd name="connsiteX1" fmla="*/ 420664 w 512324"/>
              <a:gd name="connsiteY1" fmla="*/ 424023 h 619838"/>
              <a:gd name="connsiteX2" fmla="*/ 437296 w 512324"/>
              <a:gd name="connsiteY2" fmla="*/ 428919 h 619838"/>
              <a:gd name="connsiteX3" fmla="*/ 512324 w 512324"/>
              <a:gd name="connsiteY3" fmla="*/ 508000 h 619838"/>
              <a:gd name="connsiteX4" fmla="*/ 256162 w 512324"/>
              <a:gd name="connsiteY4" fmla="*/ 619838 h 619838"/>
              <a:gd name="connsiteX5" fmla="*/ 0 w 512324"/>
              <a:gd name="connsiteY5" fmla="*/ 508000 h 619838"/>
              <a:gd name="connsiteX6" fmla="*/ 75029 w 512324"/>
              <a:gd name="connsiteY6" fmla="*/ 428919 h 619838"/>
              <a:gd name="connsiteX7" fmla="*/ 127545 w 512324"/>
              <a:gd name="connsiteY7" fmla="*/ 413460 h 61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324" h="619838">
                <a:moveTo>
                  <a:pt x="272256" y="0"/>
                </a:moveTo>
                <a:lnTo>
                  <a:pt x="420664" y="424023"/>
                </a:lnTo>
                <a:lnTo>
                  <a:pt x="437296" y="428919"/>
                </a:lnTo>
                <a:cubicBezTo>
                  <a:pt x="483652" y="449158"/>
                  <a:pt x="512324" y="477117"/>
                  <a:pt x="512324" y="508000"/>
                </a:cubicBezTo>
                <a:cubicBezTo>
                  <a:pt x="512324" y="569766"/>
                  <a:pt x="397636" y="619838"/>
                  <a:pt x="256162" y="619838"/>
                </a:cubicBezTo>
                <a:cubicBezTo>
                  <a:pt x="114688" y="619838"/>
                  <a:pt x="0" y="569766"/>
                  <a:pt x="0" y="508000"/>
                </a:cubicBezTo>
                <a:cubicBezTo>
                  <a:pt x="0" y="477117"/>
                  <a:pt x="28672" y="449158"/>
                  <a:pt x="75029" y="428919"/>
                </a:cubicBezTo>
                <a:lnTo>
                  <a:pt x="127545" y="413460"/>
                </a:lnTo>
                <a:close/>
              </a:path>
            </a:pathLst>
          </a:custGeom>
          <a:solidFill>
            <a:srgbClr val="FFC00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7" name="Platshållare för innehåll 6"/>
          <p:cNvSpPr>
            <a:spLocks noGrp="1"/>
          </p:cNvSpPr>
          <p:nvPr>
            <p:ph idx="1"/>
          </p:nvPr>
        </p:nvSpPr>
        <p:spPr/>
        <p:txBody>
          <a:bodyPr>
            <a:normAutofit lnSpcReduction="10000"/>
          </a:bodyPr>
          <a:lstStyle/>
          <a:p>
            <a:pPr marL="342900" indent="-342900">
              <a:buFont typeface="Arial" panose="020B0604020202020204" pitchFamily="34" charset="0"/>
              <a:buChar char="•"/>
            </a:pPr>
            <a:r>
              <a:rPr lang="sv-SE" dirty="0" err="1"/>
              <a:t>Flying</a:t>
            </a:r>
            <a:r>
              <a:rPr lang="sv-SE" dirty="0"/>
              <a:t> in a </a:t>
            </a:r>
            <a:r>
              <a:rPr lang="sv-SE" dirty="0" err="1"/>
              <a:t>defined</a:t>
            </a:r>
            <a:r>
              <a:rPr lang="sv-SE" dirty="0"/>
              <a:t> </a:t>
            </a:r>
            <a:r>
              <a:rPr lang="sv-SE" dirty="0" err="1"/>
              <a:t>path</a:t>
            </a:r>
            <a:r>
              <a:rPr lang="sv-SE" dirty="0"/>
              <a:t> for as long as </a:t>
            </a:r>
            <a:r>
              <a:rPr lang="sv-SE" dirty="0" err="1"/>
              <a:t>possible</a:t>
            </a:r>
            <a:r>
              <a:rPr lang="sv-SE" dirty="0"/>
              <a:t> </a:t>
            </a:r>
          </a:p>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err="1"/>
              <a:t>Amount</a:t>
            </a:r>
            <a:r>
              <a:rPr lang="sv-SE" dirty="0"/>
              <a:t> </a:t>
            </a:r>
            <a:r>
              <a:rPr lang="sv-SE" dirty="0" err="1"/>
              <a:t>of</a:t>
            </a:r>
            <a:r>
              <a:rPr lang="sv-SE" dirty="0"/>
              <a:t> </a:t>
            </a:r>
            <a:r>
              <a:rPr lang="sv-SE" dirty="0" err="1"/>
              <a:t>control</a:t>
            </a:r>
            <a:r>
              <a:rPr lang="sv-SE" dirty="0"/>
              <a:t> = </a:t>
            </a:r>
            <a:r>
              <a:rPr lang="sv-SE" dirty="0" err="1"/>
              <a:t>time</a:t>
            </a:r>
            <a:r>
              <a:rPr lang="sv-SE" dirty="0"/>
              <a:t> </a:t>
            </a:r>
            <a:r>
              <a:rPr lang="sv-SE" dirty="0" err="1"/>
              <a:t>of</a:t>
            </a:r>
            <a:r>
              <a:rPr lang="sv-SE" dirty="0"/>
              <a:t> flight</a:t>
            </a:r>
          </a:p>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Clock is </a:t>
            </a:r>
            <a:r>
              <a:rPr lang="sv-SE" dirty="0" err="1"/>
              <a:t>stopped</a:t>
            </a:r>
            <a:r>
              <a:rPr lang="sv-SE" dirty="0"/>
              <a:t> </a:t>
            </a:r>
            <a:r>
              <a:rPr lang="sv-SE" dirty="0" err="1"/>
              <a:t>when</a:t>
            </a:r>
            <a:r>
              <a:rPr lang="sv-SE" dirty="0"/>
              <a:t> </a:t>
            </a:r>
            <a:r>
              <a:rPr lang="sv-SE" dirty="0" err="1"/>
              <a:t>control</a:t>
            </a:r>
            <a:r>
              <a:rPr lang="sv-SE" dirty="0"/>
              <a:t> is </a:t>
            </a:r>
            <a:r>
              <a:rPr lang="sv-SE" dirty="0" err="1"/>
              <a:t>obviously</a:t>
            </a:r>
            <a:r>
              <a:rPr lang="sv-SE" dirty="0"/>
              <a:t> </a:t>
            </a:r>
            <a:r>
              <a:rPr lang="sv-SE" dirty="0" err="1"/>
              <a:t>lost</a:t>
            </a:r>
            <a:r>
              <a:rPr lang="sv-SE" dirty="0"/>
              <a:t> or glider </a:t>
            </a:r>
            <a:r>
              <a:rPr lang="sv-SE" dirty="0" err="1"/>
              <a:t>leaves</a:t>
            </a:r>
            <a:r>
              <a:rPr lang="sv-SE" dirty="0"/>
              <a:t> </a:t>
            </a:r>
            <a:r>
              <a:rPr lang="sv-SE" dirty="0" err="1"/>
              <a:t>zone</a:t>
            </a:r>
            <a:endParaRPr lang="sv-SE" dirty="0"/>
          </a:p>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Vary </a:t>
            </a:r>
            <a:r>
              <a:rPr lang="sv-SE" dirty="0" err="1"/>
              <a:t>configuration</a:t>
            </a:r>
            <a:r>
              <a:rPr lang="sv-SE" dirty="0"/>
              <a:t> </a:t>
            </a:r>
            <a:r>
              <a:rPr lang="sv-SE" dirty="0" err="1"/>
              <a:t>every</a:t>
            </a:r>
            <a:r>
              <a:rPr lang="sv-SE" dirty="0"/>
              <a:t> </a:t>
            </a:r>
            <a:r>
              <a:rPr lang="sv-SE" dirty="0" err="1"/>
              <a:t>two</a:t>
            </a:r>
            <a:r>
              <a:rPr lang="sv-SE" dirty="0"/>
              <a:t> tests to </a:t>
            </a:r>
            <a:r>
              <a:rPr lang="sv-SE" dirty="0" err="1"/>
              <a:t>counteract</a:t>
            </a:r>
            <a:r>
              <a:rPr lang="sv-SE" dirty="0"/>
              <a:t> </a:t>
            </a:r>
            <a:r>
              <a:rPr lang="sv-SE" dirty="0" err="1"/>
              <a:t>skill</a:t>
            </a:r>
            <a:r>
              <a:rPr lang="sv-SE" dirty="0"/>
              <a:t> </a:t>
            </a:r>
            <a:r>
              <a:rPr lang="sv-SE" dirty="0" err="1"/>
              <a:t>effects</a:t>
            </a:r>
            <a:endParaRPr lang="sv-SE" dirty="0"/>
          </a:p>
          <a:p>
            <a:endParaRPr lang="sv-SE" dirty="0"/>
          </a:p>
        </p:txBody>
      </p:sp>
      <p:sp>
        <p:nvSpPr>
          <p:cNvPr id="2" name="Rubrik 1"/>
          <p:cNvSpPr>
            <a:spLocks noGrp="1"/>
          </p:cNvSpPr>
          <p:nvPr>
            <p:ph type="title"/>
          </p:nvPr>
        </p:nvSpPr>
        <p:spPr/>
        <p:txBody>
          <a:bodyPr/>
          <a:lstStyle/>
          <a:p>
            <a:r>
              <a:rPr lang="sv-SE" dirty="0" err="1"/>
              <a:t>Proposed</a:t>
            </a:r>
            <a:r>
              <a:rPr lang="sv-SE" dirty="0"/>
              <a:t> experiment</a:t>
            </a:r>
            <a:endParaRPr lang="en-GB" dirty="0"/>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31</a:t>
            </a:fld>
            <a:endParaRPr lang="en-GB"/>
          </a:p>
        </p:txBody>
      </p:sp>
      <p:sp>
        <p:nvSpPr>
          <p:cNvPr id="6" name="Platshållare för sidfot 5"/>
          <p:cNvSpPr>
            <a:spLocks noGrp="1"/>
          </p:cNvSpPr>
          <p:nvPr>
            <p:ph type="ftr" sz="quarter" idx="11"/>
          </p:nvPr>
        </p:nvSpPr>
        <p:spPr/>
        <p:txBody>
          <a:bodyPr/>
          <a:lstStyle/>
          <a:p>
            <a:r>
              <a:rPr lang="en-GB"/>
              <a:t>KTH IPT Team</a:t>
            </a:r>
          </a:p>
        </p:txBody>
      </p:sp>
      <p:sp>
        <p:nvSpPr>
          <p:cNvPr id="9" name="Rektangel 8"/>
          <p:cNvSpPr/>
          <p:nvPr/>
        </p:nvSpPr>
        <p:spPr>
          <a:xfrm>
            <a:off x="5226050" y="1582739"/>
            <a:ext cx="3328988" cy="407828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 name="Uttryckssymbol 9"/>
          <p:cNvSpPr/>
          <p:nvPr/>
        </p:nvSpPr>
        <p:spPr>
          <a:xfrm>
            <a:off x="6702584" y="885248"/>
            <a:ext cx="375920" cy="375920"/>
          </a:xfrm>
          <a:prstGeom prst="smileyFace">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1" name="Rektangel 10"/>
          <p:cNvSpPr/>
          <p:nvPr/>
        </p:nvSpPr>
        <p:spPr>
          <a:xfrm rot="10800000">
            <a:off x="6553384" y="1235826"/>
            <a:ext cx="652826" cy="652826"/>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2" name="Pil: sparr 11"/>
          <p:cNvSpPr/>
          <p:nvPr/>
        </p:nvSpPr>
        <p:spPr>
          <a:xfrm rot="5400000">
            <a:off x="6691217" y="1098652"/>
            <a:ext cx="377158" cy="520837"/>
          </a:xfrm>
          <a:prstGeom prst="chevron">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9" name="Frihandsfigur: Form 18"/>
          <p:cNvSpPr/>
          <p:nvPr/>
        </p:nvSpPr>
        <p:spPr>
          <a:xfrm>
            <a:off x="6702583" y="4277360"/>
            <a:ext cx="512324" cy="619838"/>
          </a:xfrm>
          <a:custGeom>
            <a:avLst/>
            <a:gdLst>
              <a:gd name="connsiteX0" fmla="*/ 272256 w 512324"/>
              <a:gd name="connsiteY0" fmla="*/ 0 h 619838"/>
              <a:gd name="connsiteX1" fmla="*/ 420664 w 512324"/>
              <a:gd name="connsiteY1" fmla="*/ 424023 h 619838"/>
              <a:gd name="connsiteX2" fmla="*/ 437296 w 512324"/>
              <a:gd name="connsiteY2" fmla="*/ 428919 h 619838"/>
              <a:gd name="connsiteX3" fmla="*/ 512324 w 512324"/>
              <a:gd name="connsiteY3" fmla="*/ 508000 h 619838"/>
              <a:gd name="connsiteX4" fmla="*/ 256162 w 512324"/>
              <a:gd name="connsiteY4" fmla="*/ 619838 h 619838"/>
              <a:gd name="connsiteX5" fmla="*/ 0 w 512324"/>
              <a:gd name="connsiteY5" fmla="*/ 508000 h 619838"/>
              <a:gd name="connsiteX6" fmla="*/ 75029 w 512324"/>
              <a:gd name="connsiteY6" fmla="*/ 428919 h 619838"/>
              <a:gd name="connsiteX7" fmla="*/ 127545 w 512324"/>
              <a:gd name="connsiteY7" fmla="*/ 413460 h 61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324" h="619838">
                <a:moveTo>
                  <a:pt x="272256" y="0"/>
                </a:moveTo>
                <a:lnTo>
                  <a:pt x="420664" y="424023"/>
                </a:lnTo>
                <a:lnTo>
                  <a:pt x="437296" y="428919"/>
                </a:lnTo>
                <a:cubicBezTo>
                  <a:pt x="483652" y="449158"/>
                  <a:pt x="512324" y="477117"/>
                  <a:pt x="512324" y="508000"/>
                </a:cubicBezTo>
                <a:cubicBezTo>
                  <a:pt x="512324" y="569766"/>
                  <a:pt x="397636" y="619838"/>
                  <a:pt x="256162" y="619838"/>
                </a:cubicBezTo>
                <a:cubicBezTo>
                  <a:pt x="114688" y="619838"/>
                  <a:pt x="0" y="569766"/>
                  <a:pt x="0" y="508000"/>
                </a:cubicBezTo>
                <a:cubicBezTo>
                  <a:pt x="0" y="477117"/>
                  <a:pt x="28672" y="449158"/>
                  <a:pt x="75029" y="428919"/>
                </a:cubicBezTo>
                <a:lnTo>
                  <a:pt x="127545" y="413460"/>
                </a:lnTo>
                <a:close/>
              </a:path>
            </a:pathLst>
          </a:custGeom>
          <a:solidFill>
            <a:srgbClr val="FFC000"/>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0" name="Frihandsfigur: Form 19"/>
          <p:cNvSpPr/>
          <p:nvPr/>
        </p:nvSpPr>
        <p:spPr>
          <a:xfrm>
            <a:off x="5960657" y="1958340"/>
            <a:ext cx="2137935" cy="3548585"/>
          </a:xfrm>
          <a:custGeom>
            <a:avLst/>
            <a:gdLst>
              <a:gd name="connsiteX0" fmla="*/ 935443 w 2137935"/>
              <a:gd name="connsiteY0" fmla="*/ 0 h 3548585"/>
              <a:gd name="connsiteX1" fmla="*/ 371563 w 2137935"/>
              <a:gd name="connsiteY1" fmla="*/ 411480 h 3548585"/>
              <a:gd name="connsiteX2" fmla="*/ 394423 w 2137935"/>
              <a:gd name="connsiteY2" fmla="*/ 990600 h 3548585"/>
              <a:gd name="connsiteX3" fmla="*/ 1781263 w 2137935"/>
              <a:gd name="connsiteY3" fmla="*/ 2194560 h 3548585"/>
              <a:gd name="connsiteX4" fmla="*/ 2131783 w 2137935"/>
              <a:gd name="connsiteY4" fmla="*/ 2910840 h 3548585"/>
              <a:gd name="connsiteX5" fmla="*/ 1933663 w 2137935"/>
              <a:gd name="connsiteY5" fmla="*/ 3444240 h 3548585"/>
              <a:gd name="connsiteX6" fmla="*/ 1095463 w 2137935"/>
              <a:gd name="connsiteY6" fmla="*/ 3543300 h 3548585"/>
              <a:gd name="connsiteX7" fmla="*/ 257263 w 2137935"/>
              <a:gd name="connsiteY7" fmla="*/ 3360420 h 3548585"/>
              <a:gd name="connsiteX8" fmla="*/ 13423 w 2137935"/>
              <a:gd name="connsiteY8" fmla="*/ 2849880 h 3548585"/>
              <a:gd name="connsiteX9" fmla="*/ 584923 w 2137935"/>
              <a:gd name="connsiteY9" fmla="*/ 1981200 h 354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7935" h="3548585">
                <a:moveTo>
                  <a:pt x="935443" y="0"/>
                </a:moveTo>
                <a:cubicBezTo>
                  <a:pt x="698588" y="123190"/>
                  <a:pt x="461733" y="246380"/>
                  <a:pt x="371563" y="411480"/>
                </a:cubicBezTo>
                <a:cubicBezTo>
                  <a:pt x="281393" y="576580"/>
                  <a:pt x="159473" y="693420"/>
                  <a:pt x="394423" y="990600"/>
                </a:cubicBezTo>
                <a:cubicBezTo>
                  <a:pt x="629373" y="1287780"/>
                  <a:pt x="1491703" y="1874520"/>
                  <a:pt x="1781263" y="2194560"/>
                </a:cubicBezTo>
                <a:cubicBezTo>
                  <a:pt x="2070823" y="2514600"/>
                  <a:pt x="2106383" y="2702560"/>
                  <a:pt x="2131783" y="2910840"/>
                </a:cubicBezTo>
                <a:cubicBezTo>
                  <a:pt x="2157183" y="3119120"/>
                  <a:pt x="2106383" y="3338830"/>
                  <a:pt x="1933663" y="3444240"/>
                </a:cubicBezTo>
                <a:cubicBezTo>
                  <a:pt x="1760943" y="3549650"/>
                  <a:pt x="1374863" y="3557270"/>
                  <a:pt x="1095463" y="3543300"/>
                </a:cubicBezTo>
                <a:cubicBezTo>
                  <a:pt x="816063" y="3529330"/>
                  <a:pt x="437603" y="3475990"/>
                  <a:pt x="257263" y="3360420"/>
                </a:cubicBezTo>
                <a:cubicBezTo>
                  <a:pt x="76923" y="3244850"/>
                  <a:pt x="-41187" y="3079750"/>
                  <a:pt x="13423" y="2849880"/>
                </a:cubicBezTo>
                <a:cubicBezTo>
                  <a:pt x="68033" y="2620010"/>
                  <a:pt x="326478" y="2300605"/>
                  <a:pt x="584923" y="1981200"/>
                </a:cubicBezTo>
              </a:path>
            </a:pathLst>
          </a:custGeom>
          <a:noFill/>
          <a:ln>
            <a:solidFill>
              <a:schemeClr val="bg1">
                <a:lumMod val="65000"/>
              </a:schemeClr>
            </a:solidFill>
            <a:prstDash val="lg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ihandsfigur: Form 21"/>
          <p:cNvSpPr/>
          <p:nvPr/>
        </p:nvSpPr>
        <p:spPr>
          <a:xfrm>
            <a:off x="7573818" y="1976582"/>
            <a:ext cx="435327" cy="1311563"/>
          </a:xfrm>
          <a:custGeom>
            <a:avLst/>
            <a:gdLst>
              <a:gd name="connsiteX0" fmla="*/ 0 w 435327"/>
              <a:gd name="connsiteY0" fmla="*/ 1311563 h 1311563"/>
              <a:gd name="connsiteX1" fmla="*/ 378691 w 435327"/>
              <a:gd name="connsiteY1" fmla="*/ 914400 h 1311563"/>
              <a:gd name="connsiteX2" fmla="*/ 397164 w 435327"/>
              <a:gd name="connsiteY2" fmla="*/ 341745 h 1311563"/>
              <a:gd name="connsiteX3" fmla="*/ 27709 w 435327"/>
              <a:gd name="connsiteY3" fmla="*/ 0 h 1311563"/>
            </a:gdLst>
            <a:ahLst/>
            <a:cxnLst>
              <a:cxn ang="0">
                <a:pos x="connsiteX0" y="connsiteY0"/>
              </a:cxn>
              <a:cxn ang="0">
                <a:pos x="connsiteX1" y="connsiteY1"/>
              </a:cxn>
              <a:cxn ang="0">
                <a:pos x="connsiteX2" y="connsiteY2"/>
              </a:cxn>
              <a:cxn ang="0">
                <a:pos x="connsiteX3" y="connsiteY3"/>
              </a:cxn>
            </a:cxnLst>
            <a:rect l="l" t="t" r="r" b="b"/>
            <a:pathLst>
              <a:path w="435327" h="1311563">
                <a:moveTo>
                  <a:pt x="0" y="1311563"/>
                </a:moveTo>
                <a:cubicBezTo>
                  <a:pt x="156248" y="1193799"/>
                  <a:pt x="312497" y="1076036"/>
                  <a:pt x="378691" y="914400"/>
                </a:cubicBezTo>
                <a:cubicBezTo>
                  <a:pt x="444885" y="752764"/>
                  <a:pt x="455661" y="494145"/>
                  <a:pt x="397164" y="341745"/>
                </a:cubicBezTo>
                <a:cubicBezTo>
                  <a:pt x="338667" y="189345"/>
                  <a:pt x="183188" y="94672"/>
                  <a:pt x="27709" y="0"/>
                </a:cubicBezTo>
              </a:path>
            </a:pathLst>
          </a:custGeom>
          <a:noFill/>
          <a:ln>
            <a:solidFill>
              <a:schemeClr val="bg1">
                <a:lumMod val="65000"/>
              </a:schemeClr>
            </a:solidFill>
            <a:prstDash val="lg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ruta 22"/>
          <p:cNvSpPr txBox="1"/>
          <p:nvPr/>
        </p:nvSpPr>
        <p:spPr>
          <a:xfrm>
            <a:off x="7214907" y="757382"/>
            <a:ext cx="1406124" cy="369332"/>
          </a:xfrm>
          <a:prstGeom prst="rect">
            <a:avLst/>
          </a:prstGeom>
          <a:noFill/>
        </p:spPr>
        <p:txBody>
          <a:bodyPr wrap="square" rtlCol="0">
            <a:spAutoFit/>
          </a:bodyPr>
          <a:lstStyle/>
          <a:p>
            <a:r>
              <a:rPr lang="sv-SE" dirty="0"/>
              <a:t>test person</a:t>
            </a:r>
            <a:endParaRPr lang="en-GB" dirty="0"/>
          </a:p>
        </p:txBody>
      </p:sp>
      <p:sp>
        <p:nvSpPr>
          <p:cNvPr id="24" name="textruta 23"/>
          <p:cNvSpPr txBox="1"/>
          <p:nvPr/>
        </p:nvSpPr>
        <p:spPr>
          <a:xfrm>
            <a:off x="6503148" y="4903467"/>
            <a:ext cx="1406124" cy="369332"/>
          </a:xfrm>
          <a:prstGeom prst="rect">
            <a:avLst/>
          </a:prstGeom>
          <a:noFill/>
        </p:spPr>
        <p:txBody>
          <a:bodyPr wrap="square" rtlCol="0">
            <a:spAutoFit/>
          </a:bodyPr>
          <a:lstStyle/>
          <a:p>
            <a:r>
              <a:rPr lang="sv-SE" dirty="0" err="1"/>
              <a:t>obstacle</a:t>
            </a:r>
            <a:endParaRPr lang="en-GB" dirty="0"/>
          </a:p>
        </p:txBody>
      </p:sp>
      <p:sp>
        <p:nvSpPr>
          <p:cNvPr id="25" name="textruta 24"/>
          <p:cNvSpPr txBox="1"/>
          <p:nvPr/>
        </p:nvSpPr>
        <p:spPr>
          <a:xfrm>
            <a:off x="4975702" y="1148137"/>
            <a:ext cx="1602072" cy="369332"/>
          </a:xfrm>
          <a:prstGeom prst="rect">
            <a:avLst/>
          </a:prstGeom>
          <a:noFill/>
        </p:spPr>
        <p:txBody>
          <a:bodyPr wrap="square" rtlCol="0">
            <a:spAutoFit/>
          </a:bodyPr>
          <a:lstStyle/>
          <a:p>
            <a:r>
              <a:rPr lang="sv-SE" dirty="0" err="1"/>
              <a:t>control</a:t>
            </a:r>
            <a:r>
              <a:rPr lang="sv-SE" dirty="0"/>
              <a:t> </a:t>
            </a:r>
            <a:r>
              <a:rPr lang="sv-SE" dirty="0" err="1"/>
              <a:t>zone</a:t>
            </a:r>
            <a:endParaRPr lang="en-GB" dirty="0"/>
          </a:p>
        </p:txBody>
      </p:sp>
      <p:sp>
        <p:nvSpPr>
          <p:cNvPr id="26" name="textruta 25"/>
          <p:cNvSpPr txBox="1"/>
          <p:nvPr/>
        </p:nvSpPr>
        <p:spPr>
          <a:xfrm rot="2267909">
            <a:off x="6614636" y="3374878"/>
            <a:ext cx="1634347" cy="369332"/>
          </a:xfrm>
          <a:prstGeom prst="rect">
            <a:avLst/>
          </a:prstGeom>
          <a:noFill/>
        </p:spPr>
        <p:txBody>
          <a:bodyPr wrap="square" rtlCol="0">
            <a:spAutoFit/>
          </a:bodyPr>
          <a:lstStyle/>
          <a:p>
            <a:r>
              <a:rPr lang="sv-SE" dirty="0" err="1"/>
              <a:t>path</a:t>
            </a:r>
            <a:r>
              <a:rPr lang="sv-SE" dirty="0"/>
              <a:t> to </a:t>
            </a:r>
            <a:r>
              <a:rPr lang="sv-SE" dirty="0" err="1"/>
              <a:t>follow</a:t>
            </a:r>
            <a:endParaRPr lang="en-GB" dirty="0"/>
          </a:p>
        </p:txBody>
      </p:sp>
    </p:spTree>
    <p:extLst>
      <p:ext uri="{BB962C8B-B14F-4D97-AF65-F5344CB8AC3E}">
        <p14:creationId xmlns:p14="http://schemas.microsoft.com/office/powerpoint/2010/main" val="18762724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Tree>
    <p:extLst>
      <p:ext uri="{BB962C8B-B14F-4D97-AF65-F5344CB8AC3E}">
        <p14:creationId xmlns:p14="http://schemas.microsoft.com/office/powerpoint/2010/main" val="31836964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Backup </a:t>
            </a:r>
            <a:r>
              <a:rPr lang="sv-SE" dirty="0" err="1"/>
              <a:t>slides</a:t>
            </a:r>
            <a:endParaRPr lang="en-GB" dirty="0"/>
          </a:p>
        </p:txBody>
      </p:sp>
      <p:sp>
        <p:nvSpPr>
          <p:cNvPr id="5" name="Underrubrik 4"/>
          <p:cNvSpPr>
            <a:spLocks noGrp="1"/>
          </p:cNvSpPr>
          <p:nvPr>
            <p:ph type="subTitle" idx="1"/>
          </p:nvPr>
        </p:nvSpPr>
        <p:spPr/>
        <p:txBody>
          <a:bodyPr/>
          <a:lstStyle/>
          <a:p>
            <a:endParaRPr lang="en-GB"/>
          </a:p>
        </p:txBody>
      </p:sp>
    </p:spTree>
    <p:extLst>
      <p:ext uri="{BB962C8B-B14F-4D97-AF65-F5344CB8AC3E}">
        <p14:creationId xmlns:p14="http://schemas.microsoft.com/office/powerpoint/2010/main" val="34059558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lstStyle/>
          <a:p>
            <a:r>
              <a:rPr lang="en-GB" dirty="0"/>
              <a:t>No spread</a:t>
            </a:r>
          </a:p>
        </p:txBody>
      </p:sp>
      <p:sp>
        <p:nvSpPr>
          <p:cNvPr id="2" name="Platshållare för datum 1"/>
          <p:cNvSpPr>
            <a:spLocks noGrp="1"/>
          </p:cNvSpPr>
          <p:nvPr>
            <p:ph type="dt" sz="half" idx="10"/>
          </p:nvPr>
        </p:nvSpPr>
        <p:spPr/>
        <p:txBody>
          <a:bodyPr/>
          <a:lstStyle/>
          <a:p>
            <a:r>
              <a:rPr lang="sv-SE"/>
              <a:t>International physicist’s tournament 2017</a:t>
            </a:r>
            <a:endParaRPr lang="en-GB"/>
          </a:p>
        </p:txBody>
      </p:sp>
      <p:sp>
        <p:nvSpPr>
          <p:cNvPr id="5" name="Platshållare för sidfot 4"/>
          <p:cNvSpPr>
            <a:spLocks noGrp="1"/>
          </p:cNvSpPr>
          <p:nvPr>
            <p:ph type="ftr" sz="quarter" idx="11"/>
          </p:nvPr>
        </p:nvSpPr>
        <p:spPr/>
        <p:txBody>
          <a:bodyPr/>
          <a:lstStyle/>
          <a:p>
            <a:r>
              <a:rPr lang="en-GB"/>
              <a:t>KTH IPT Team</a:t>
            </a:r>
          </a:p>
        </p:txBody>
      </p:sp>
      <p:sp>
        <p:nvSpPr>
          <p:cNvPr id="6" name="Platshållare för bildnummer 5"/>
          <p:cNvSpPr>
            <a:spLocks noGrp="1"/>
          </p:cNvSpPr>
          <p:nvPr>
            <p:ph type="sldNum" sz="quarter" idx="12"/>
          </p:nvPr>
        </p:nvSpPr>
        <p:spPr/>
        <p:txBody>
          <a:bodyPr/>
          <a:lstStyle/>
          <a:p>
            <a:fld id="{0A5BB9CA-7E98-491A-8EA1-ABE7E829D232}" type="slidenum">
              <a:rPr lang="en-GB" smtClean="0"/>
              <a:t>34</a:t>
            </a:fld>
            <a:endParaRPr lang="en-GB"/>
          </a:p>
        </p:txBody>
      </p:sp>
      <p:pic>
        <p:nvPicPr>
          <p:cNvPr id="8" name="Platshållare för bild 7"/>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0800" b="10800"/>
          <a:stretch>
            <a:fillRect/>
          </a:stretch>
        </p:blipFill>
        <p:spPr/>
      </p:pic>
    </p:spTree>
    <p:extLst>
      <p:ext uri="{BB962C8B-B14F-4D97-AF65-F5344CB8AC3E}">
        <p14:creationId xmlns:p14="http://schemas.microsoft.com/office/powerpoint/2010/main" val="3309539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bild 6"/>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0800" b="10800"/>
          <a:stretch>
            <a:fillRect/>
          </a:stretch>
        </p:blipFill>
        <p:spPr/>
      </p:pic>
      <p:sp>
        <p:nvSpPr>
          <p:cNvPr id="3" name="Rubrik 2"/>
          <p:cNvSpPr>
            <a:spLocks noGrp="1"/>
          </p:cNvSpPr>
          <p:nvPr>
            <p:ph type="title"/>
          </p:nvPr>
        </p:nvSpPr>
        <p:spPr/>
        <p:txBody>
          <a:bodyPr/>
          <a:lstStyle/>
          <a:p>
            <a:r>
              <a:rPr lang="en-GB" dirty="0"/>
              <a:t>Nano spread</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35</a:t>
            </a:fld>
            <a:endParaRPr lang="en-GB"/>
          </a:p>
        </p:txBody>
      </p:sp>
      <p:sp>
        <p:nvSpPr>
          <p:cNvPr id="6" name="Platshållare för sidfot 5"/>
          <p:cNvSpPr>
            <a:spLocks noGrp="1"/>
          </p:cNvSpPr>
          <p:nvPr>
            <p:ph type="ftr" sz="quarter" idx="11"/>
          </p:nvPr>
        </p:nvSpPr>
        <p:spPr/>
        <p:txBody>
          <a:bodyPr/>
          <a:lstStyle/>
          <a:p>
            <a:r>
              <a:rPr lang="en-GB"/>
              <a:t>KTH IPT Team</a:t>
            </a:r>
          </a:p>
        </p:txBody>
      </p:sp>
    </p:spTree>
    <p:extLst>
      <p:ext uri="{BB962C8B-B14F-4D97-AF65-F5344CB8AC3E}">
        <p14:creationId xmlns:p14="http://schemas.microsoft.com/office/powerpoint/2010/main" val="37551675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bild 6"/>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0800" b="10800"/>
          <a:stretch>
            <a:fillRect/>
          </a:stretch>
        </p:blipFill>
        <p:spPr/>
      </p:pic>
      <p:sp>
        <p:nvSpPr>
          <p:cNvPr id="3" name="Rubrik 2"/>
          <p:cNvSpPr>
            <a:spLocks noGrp="1"/>
          </p:cNvSpPr>
          <p:nvPr>
            <p:ph type="title"/>
          </p:nvPr>
        </p:nvSpPr>
        <p:spPr/>
        <p:txBody>
          <a:bodyPr/>
          <a:lstStyle/>
          <a:p>
            <a:r>
              <a:rPr lang="en-GB" dirty="0"/>
              <a:t>Slight spread</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bildnummer 4"/>
          <p:cNvSpPr>
            <a:spLocks noGrp="1"/>
          </p:cNvSpPr>
          <p:nvPr>
            <p:ph type="sldNum" sz="quarter" idx="12"/>
          </p:nvPr>
        </p:nvSpPr>
        <p:spPr/>
        <p:txBody>
          <a:bodyPr/>
          <a:lstStyle/>
          <a:p>
            <a:fld id="{0A5BB9CA-7E98-491A-8EA1-ABE7E829D232}" type="slidenum">
              <a:rPr lang="en-GB" smtClean="0"/>
              <a:t>36</a:t>
            </a:fld>
            <a:endParaRPr lang="en-GB"/>
          </a:p>
        </p:txBody>
      </p:sp>
      <p:sp>
        <p:nvSpPr>
          <p:cNvPr id="6" name="Platshållare för sidfot 5"/>
          <p:cNvSpPr>
            <a:spLocks noGrp="1"/>
          </p:cNvSpPr>
          <p:nvPr>
            <p:ph type="ftr" sz="quarter" idx="11"/>
          </p:nvPr>
        </p:nvSpPr>
        <p:spPr/>
        <p:txBody>
          <a:bodyPr/>
          <a:lstStyle/>
          <a:p>
            <a:r>
              <a:rPr lang="en-GB"/>
              <a:t>KTH IPT Team</a:t>
            </a:r>
          </a:p>
        </p:txBody>
      </p:sp>
    </p:spTree>
    <p:extLst>
      <p:ext uri="{BB962C8B-B14F-4D97-AF65-F5344CB8AC3E}">
        <p14:creationId xmlns:p14="http://schemas.microsoft.com/office/powerpoint/2010/main" val="4835857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lstStyle/>
          <a:p>
            <a:r>
              <a:rPr lang="en-GB" dirty="0"/>
              <a:t>Max spread</a:t>
            </a:r>
          </a:p>
        </p:txBody>
      </p:sp>
      <p:sp>
        <p:nvSpPr>
          <p:cNvPr id="2" name="Platshållare för datum 1"/>
          <p:cNvSpPr>
            <a:spLocks noGrp="1"/>
          </p:cNvSpPr>
          <p:nvPr>
            <p:ph type="dt" sz="half" idx="10"/>
          </p:nvPr>
        </p:nvSpPr>
        <p:spPr/>
        <p:txBody>
          <a:bodyPr/>
          <a:lstStyle/>
          <a:p>
            <a:r>
              <a:rPr lang="sv-SE"/>
              <a:t>International physicist’s tournament 2017</a:t>
            </a:r>
            <a:endParaRPr lang="en-GB"/>
          </a:p>
        </p:txBody>
      </p:sp>
      <p:sp>
        <p:nvSpPr>
          <p:cNvPr id="5" name="Platshållare för sidfot 4"/>
          <p:cNvSpPr>
            <a:spLocks noGrp="1"/>
          </p:cNvSpPr>
          <p:nvPr>
            <p:ph type="ftr" sz="quarter" idx="11"/>
          </p:nvPr>
        </p:nvSpPr>
        <p:spPr/>
        <p:txBody>
          <a:bodyPr/>
          <a:lstStyle/>
          <a:p>
            <a:r>
              <a:rPr lang="en-GB"/>
              <a:t>KTH IPT Team</a:t>
            </a:r>
          </a:p>
        </p:txBody>
      </p:sp>
      <p:sp>
        <p:nvSpPr>
          <p:cNvPr id="6" name="Platshållare för bildnummer 5"/>
          <p:cNvSpPr>
            <a:spLocks noGrp="1"/>
          </p:cNvSpPr>
          <p:nvPr>
            <p:ph type="sldNum" sz="quarter" idx="12"/>
          </p:nvPr>
        </p:nvSpPr>
        <p:spPr/>
        <p:txBody>
          <a:bodyPr/>
          <a:lstStyle/>
          <a:p>
            <a:fld id="{0A5BB9CA-7E98-491A-8EA1-ABE7E829D232}" type="slidenum">
              <a:rPr lang="en-GB" smtClean="0"/>
              <a:t>37</a:t>
            </a:fld>
            <a:endParaRPr lang="en-GB"/>
          </a:p>
        </p:txBody>
      </p:sp>
      <p:pic>
        <p:nvPicPr>
          <p:cNvPr id="8" name="Platshållare för bild 7"/>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0800" b="10800"/>
          <a:stretch>
            <a:fillRect/>
          </a:stretch>
        </p:blipFill>
        <p:spPr/>
      </p:pic>
    </p:spTree>
    <p:extLst>
      <p:ext uri="{BB962C8B-B14F-4D97-AF65-F5344CB8AC3E}">
        <p14:creationId xmlns:p14="http://schemas.microsoft.com/office/powerpoint/2010/main" val="13528636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p:cNvSpPr>
            <a:spLocks noGrp="1"/>
          </p:cNvSpPr>
          <p:nvPr>
            <p:ph idx="1"/>
          </p:nvPr>
        </p:nvSpPr>
        <p:spPr>
          <a:xfrm>
            <a:off x="1619250" y="1582739"/>
            <a:ext cx="3312790" cy="4078286"/>
          </a:xfrm>
        </p:spPr>
        <p:txBody>
          <a:bodyPr/>
          <a:lstStyle/>
          <a:p>
            <a:r>
              <a:rPr lang="en-US" dirty="0"/>
              <a:t>It is possible to make small gliders with paper and to make them fly for a very long time by putting your hand below the glider during flight.</a:t>
            </a:r>
          </a:p>
          <a:p>
            <a:endParaRPr lang="en-US" dirty="0"/>
          </a:p>
          <a:p>
            <a:r>
              <a:rPr lang="en-US" dirty="0"/>
              <a:t>Explain the physics behind this phenomenon and describe the optimal set of parameters for the best control of the glider.</a:t>
            </a:r>
            <a:endParaRPr lang="en-GB" dirty="0"/>
          </a:p>
        </p:txBody>
      </p:sp>
      <p:sp>
        <p:nvSpPr>
          <p:cNvPr id="4" name="Rubrik 3"/>
          <p:cNvSpPr>
            <a:spLocks noGrp="1"/>
          </p:cNvSpPr>
          <p:nvPr>
            <p:ph type="title"/>
          </p:nvPr>
        </p:nvSpPr>
        <p:spPr/>
        <p:txBody>
          <a:bodyPr/>
          <a:lstStyle/>
          <a:p>
            <a:r>
              <a:rPr lang="en-GB" dirty="0"/>
              <a:t>Problem statement</a:t>
            </a:r>
          </a:p>
        </p:txBody>
      </p:sp>
      <p:sp>
        <p:nvSpPr>
          <p:cNvPr id="2" name="Platshållare för datum 1"/>
          <p:cNvSpPr>
            <a:spLocks noGrp="1"/>
          </p:cNvSpPr>
          <p:nvPr>
            <p:ph type="dt" sz="half" idx="10"/>
          </p:nvPr>
        </p:nvSpPr>
        <p:spPr/>
        <p:txBody>
          <a:bodyPr/>
          <a:lstStyle/>
          <a:p>
            <a:r>
              <a:rPr lang="sv-SE"/>
              <a:t>International physicist’s tournament 2017</a:t>
            </a:r>
            <a:endParaRPr lang="en-GB" dirty="0"/>
          </a:p>
        </p:txBody>
      </p:sp>
      <p:sp>
        <p:nvSpPr>
          <p:cNvPr id="6" name="Platshållare för bildnummer 5"/>
          <p:cNvSpPr>
            <a:spLocks noGrp="1"/>
          </p:cNvSpPr>
          <p:nvPr>
            <p:ph type="sldNum" sz="quarter" idx="12"/>
          </p:nvPr>
        </p:nvSpPr>
        <p:spPr/>
        <p:txBody>
          <a:bodyPr/>
          <a:lstStyle/>
          <a:p>
            <a:fld id="{0A5BB9CA-7E98-491A-8EA1-ABE7E829D232}" type="slidenum">
              <a:rPr lang="en-GB" smtClean="0"/>
              <a:t>4</a:t>
            </a:fld>
            <a:endParaRPr lang="en-GB"/>
          </a:p>
        </p:txBody>
      </p:sp>
      <p:sp>
        <p:nvSpPr>
          <p:cNvPr id="3" name="Platshållare för sidfot 2"/>
          <p:cNvSpPr>
            <a:spLocks noGrp="1"/>
          </p:cNvSpPr>
          <p:nvPr>
            <p:ph type="ftr" sz="quarter" idx="11"/>
          </p:nvPr>
        </p:nvSpPr>
        <p:spPr/>
        <p:txBody>
          <a:bodyPr/>
          <a:lstStyle/>
          <a:p>
            <a:r>
              <a:rPr lang="en-GB"/>
              <a:t>KTH IPT Team</a:t>
            </a:r>
          </a:p>
        </p:txBody>
      </p:sp>
      <p:pic>
        <p:nvPicPr>
          <p:cNvPr id="8" name="VID_49420907_155911">
            <a:hlinkClick r:id="" action="ppaction://media"/>
          </p:cNvPr>
          <p:cNvPicPr>
            <a:picLocks noGrp="1" noChangeAspect="1"/>
          </p:cNvPicPr>
          <p:nvPr>
            <p:ph type="pic" sz="quarter" idx="13"/>
            <a:videoFile r:link="rId2"/>
            <p:extLst>
              <p:ext uri="{DAA4B4D4-6D71-4841-9C94-3DE7FCFB9230}">
                <p14:media xmlns:p14="http://schemas.microsoft.com/office/powerpoint/2010/main" r:embed="rId1"/>
              </p:ext>
            </p:extLst>
          </p:nvPr>
        </p:nvPicPr>
        <p:blipFill rotWithShape="1">
          <a:blip r:embed="rId4"/>
          <a:srcRect l="11153" t="2410" r="26225" b="20874"/>
          <a:stretch/>
        </p:blipFill>
        <p:spPr>
          <a:xfrm>
            <a:off x="5260091" y="1582739"/>
            <a:ext cx="3328988" cy="4078286"/>
          </a:xfrm>
        </p:spPr>
      </p:pic>
    </p:spTree>
    <p:extLst>
      <p:ext uri="{BB962C8B-B14F-4D97-AF65-F5344CB8AC3E}">
        <p14:creationId xmlns:p14="http://schemas.microsoft.com/office/powerpoint/2010/main" val="3604388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91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p:cNvSpPr>
            <a:spLocks noGrp="1"/>
          </p:cNvSpPr>
          <p:nvPr>
            <p:ph idx="1"/>
          </p:nvPr>
        </p:nvSpPr>
        <p:spPr>
          <a:xfrm>
            <a:off x="1619250" y="1582739"/>
            <a:ext cx="3312790" cy="4078286"/>
          </a:xfrm>
        </p:spPr>
        <p:txBody>
          <a:bodyPr/>
          <a:lstStyle/>
          <a:p>
            <a:r>
              <a:rPr lang="en-US" dirty="0"/>
              <a:t>It is possible to make small gliders with paper and to make them fly for a very long time by putting your hand below the glider during flight.</a:t>
            </a:r>
          </a:p>
          <a:p>
            <a:endParaRPr lang="en-US" dirty="0"/>
          </a:p>
          <a:p>
            <a:r>
              <a:rPr lang="en-US" b="1" dirty="0"/>
              <a:t>Explain</a:t>
            </a:r>
            <a:r>
              <a:rPr lang="en-US" dirty="0"/>
              <a:t> the physics behind this phenomenon and </a:t>
            </a:r>
            <a:r>
              <a:rPr lang="en-US" b="1" dirty="0"/>
              <a:t>describe the optimal set of parameters for the best control</a:t>
            </a:r>
            <a:r>
              <a:rPr lang="en-US" dirty="0"/>
              <a:t> of the glider.</a:t>
            </a:r>
            <a:endParaRPr lang="en-GB" dirty="0"/>
          </a:p>
        </p:txBody>
      </p:sp>
      <p:sp>
        <p:nvSpPr>
          <p:cNvPr id="4" name="Rubrik 3"/>
          <p:cNvSpPr>
            <a:spLocks noGrp="1"/>
          </p:cNvSpPr>
          <p:nvPr>
            <p:ph type="title"/>
          </p:nvPr>
        </p:nvSpPr>
        <p:spPr/>
        <p:txBody>
          <a:bodyPr/>
          <a:lstStyle/>
          <a:p>
            <a:r>
              <a:rPr lang="en-GB" dirty="0"/>
              <a:t>Problem statement</a:t>
            </a:r>
          </a:p>
        </p:txBody>
      </p:sp>
      <p:sp>
        <p:nvSpPr>
          <p:cNvPr id="2" name="Platshållare för datum 1"/>
          <p:cNvSpPr>
            <a:spLocks noGrp="1"/>
          </p:cNvSpPr>
          <p:nvPr>
            <p:ph type="dt" sz="half" idx="10"/>
          </p:nvPr>
        </p:nvSpPr>
        <p:spPr/>
        <p:txBody>
          <a:bodyPr/>
          <a:lstStyle/>
          <a:p>
            <a:r>
              <a:rPr lang="sv-SE"/>
              <a:t>International physicist’s tournament 2017</a:t>
            </a:r>
            <a:endParaRPr lang="en-GB" dirty="0"/>
          </a:p>
        </p:txBody>
      </p:sp>
      <p:sp>
        <p:nvSpPr>
          <p:cNvPr id="6" name="Platshållare för bildnummer 5"/>
          <p:cNvSpPr>
            <a:spLocks noGrp="1"/>
          </p:cNvSpPr>
          <p:nvPr>
            <p:ph type="sldNum" sz="quarter" idx="12"/>
          </p:nvPr>
        </p:nvSpPr>
        <p:spPr/>
        <p:txBody>
          <a:bodyPr/>
          <a:lstStyle/>
          <a:p>
            <a:fld id="{0A5BB9CA-7E98-491A-8EA1-ABE7E829D232}" type="slidenum">
              <a:rPr lang="en-GB" smtClean="0"/>
              <a:t>5</a:t>
            </a:fld>
            <a:endParaRPr lang="en-GB"/>
          </a:p>
        </p:txBody>
      </p:sp>
      <p:sp>
        <p:nvSpPr>
          <p:cNvPr id="3" name="Platshållare för sidfot 2"/>
          <p:cNvSpPr>
            <a:spLocks noGrp="1"/>
          </p:cNvSpPr>
          <p:nvPr>
            <p:ph type="ftr" sz="quarter" idx="11"/>
          </p:nvPr>
        </p:nvSpPr>
        <p:spPr/>
        <p:txBody>
          <a:bodyPr/>
          <a:lstStyle/>
          <a:p>
            <a:r>
              <a:rPr lang="en-GB"/>
              <a:t>KTH IPT Team</a:t>
            </a:r>
          </a:p>
        </p:txBody>
      </p:sp>
      <p:sp>
        <p:nvSpPr>
          <p:cNvPr id="10" name="Platshållare för bild 9"/>
          <p:cNvSpPr>
            <a:spLocks noGrp="1"/>
          </p:cNvSpPr>
          <p:nvPr>
            <p:ph type="pic" sz="quarter" idx="13"/>
          </p:nvPr>
        </p:nvSpPr>
        <p:spPr>
          <a:solidFill>
            <a:schemeClr val="tx1"/>
          </a:solidFill>
        </p:spPr>
      </p:sp>
    </p:spTree>
    <p:extLst>
      <p:ext uri="{BB962C8B-B14F-4D97-AF65-F5344CB8AC3E}">
        <p14:creationId xmlns:p14="http://schemas.microsoft.com/office/powerpoint/2010/main" val="34163455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Video example</a:t>
            </a:r>
          </a:p>
        </p:txBody>
      </p:sp>
      <p:sp>
        <p:nvSpPr>
          <p:cNvPr id="3" name="Platshållare för datum 2"/>
          <p:cNvSpPr>
            <a:spLocks noGrp="1"/>
          </p:cNvSpPr>
          <p:nvPr>
            <p:ph type="dt" sz="half" idx="10"/>
          </p:nvPr>
        </p:nvSpPr>
        <p:spPr/>
        <p:txBody>
          <a:bodyPr/>
          <a:lstStyle/>
          <a:p>
            <a:r>
              <a:rPr lang="sv-SE"/>
              <a:t>International physicist’s tournament 2017</a:t>
            </a:r>
            <a:endParaRPr lang="en-GB"/>
          </a:p>
        </p:txBody>
      </p:sp>
      <p:sp>
        <p:nvSpPr>
          <p:cNvPr id="5" name="Platshållare för sidfot 4"/>
          <p:cNvSpPr>
            <a:spLocks noGrp="1"/>
          </p:cNvSpPr>
          <p:nvPr>
            <p:ph type="ftr" sz="quarter" idx="11"/>
          </p:nvPr>
        </p:nvSpPr>
        <p:spPr/>
        <p:txBody>
          <a:bodyPr/>
          <a:lstStyle/>
          <a:p>
            <a:r>
              <a:rPr lang="en-GB"/>
              <a:t>KTH IPT Team</a:t>
            </a:r>
          </a:p>
        </p:txBody>
      </p:sp>
      <p:sp>
        <p:nvSpPr>
          <p:cNvPr id="6" name="Platshållare för bildnummer 5"/>
          <p:cNvSpPr>
            <a:spLocks noGrp="1"/>
          </p:cNvSpPr>
          <p:nvPr>
            <p:ph type="sldNum" sz="quarter" idx="12"/>
          </p:nvPr>
        </p:nvSpPr>
        <p:spPr/>
        <p:txBody>
          <a:bodyPr/>
          <a:lstStyle/>
          <a:p>
            <a:fld id="{0A5BB9CA-7E98-491A-8EA1-ABE7E829D232}" type="slidenum">
              <a:rPr lang="en-GB" smtClean="0"/>
              <a:t>6</a:t>
            </a:fld>
            <a:endParaRPr lang="en-GB"/>
          </a:p>
        </p:txBody>
      </p:sp>
      <p:pic>
        <p:nvPicPr>
          <p:cNvPr id="9" name="VID_49420907_155911">
            <a:hlinkClick r:id="" action="ppaction://media"/>
          </p:cNvPr>
          <p:cNvPicPr>
            <a:picLocks noGrp="1" noChangeAspect="1"/>
          </p:cNvPicPr>
          <p:nvPr>
            <p:ph idx="1"/>
            <a:videoFile r:link="rId2"/>
            <p:extLst>
              <p:ext uri="{DAA4B4D4-6D71-4841-9C94-3DE7FCFB9230}">
                <p14:media xmlns:p14="http://schemas.microsoft.com/office/powerpoint/2010/main" r:embed="rId1"/>
              </p:ext>
            </p:extLst>
          </p:nvPr>
        </p:nvPicPr>
        <p:blipFill rotWithShape="1">
          <a:blip r:embed="rId4"/>
          <a:srcRect l="8606" r="23827" b="33497"/>
          <a:stretch/>
        </p:blipFill>
        <p:spPr>
          <a:xfrm>
            <a:off x="4240309" y="1563918"/>
            <a:ext cx="4314729" cy="4246781"/>
          </a:xfrm>
        </p:spPr>
      </p:pic>
    </p:spTree>
    <p:extLst>
      <p:ext uri="{BB962C8B-B14F-4D97-AF65-F5344CB8AC3E}">
        <p14:creationId xmlns:p14="http://schemas.microsoft.com/office/powerpoint/2010/main" val="362490163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9"/>
                                        </p:tgtEl>
                                      </p:cBhvr>
                                    </p:cmd>
                                  </p:childTnLst>
                                </p:cTn>
                              </p:par>
                            </p:childTnLst>
                          </p:cTn>
                        </p:par>
                      </p:childTnLst>
                    </p:cTn>
                  </p:par>
                </p:childTnLst>
              </p:cTn>
              <p:nextCondLst>
                <p:cond evt="onClick" delay="0">
                  <p:tgtEl>
                    <p:spTgt spid="9"/>
                  </p:tgtEl>
                </p:cond>
              </p:nextCondLst>
            </p:seq>
            <p:video>
              <p:cMediaNode vol="80000">
                <p:cTn id="7" fill="hold" display="0">
                  <p:stCondLst>
                    <p:cond delay="indefinite"/>
                  </p:stCondLst>
                </p:cTn>
                <p:tgtEl>
                  <p:spTgt spid="9"/>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dirty="0"/>
              <a:t>Presentation contents</a:t>
            </a:r>
          </a:p>
        </p:txBody>
      </p:sp>
      <p:sp>
        <p:nvSpPr>
          <p:cNvPr id="3" name="Platshållare för innehåll 2"/>
          <p:cNvSpPr>
            <a:spLocks noGrp="1"/>
          </p:cNvSpPr>
          <p:nvPr>
            <p:ph idx="1"/>
          </p:nvPr>
        </p:nvSpPr>
        <p:spPr/>
        <p:txBody>
          <a:bodyPr>
            <a:normAutofit/>
          </a:bodyPr>
          <a:lstStyle/>
          <a:p>
            <a:pPr marL="342900" indent="-342900">
              <a:buFont typeface="Arial" panose="020B0604020202020204" pitchFamily="34" charset="0"/>
              <a:buChar char="•"/>
            </a:pPr>
            <a:r>
              <a:rPr lang="en-GB" dirty="0"/>
              <a:t>Delimitations and simplification</a:t>
            </a:r>
          </a:p>
          <a:p>
            <a:pPr marL="342900" indent="-342900">
              <a:buFont typeface="Arial" panose="020B0604020202020204" pitchFamily="34" charset="0"/>
              <a:buChar char="•"/>
            </a:pPr>
            <a:r>
              <a:rPr lang="en-GB" dirty="0"/>
              <a:t>Description of aircraft</a:t>
            </a:r>
          </a:p>
          <a:p>
            <a:pPr marL="342900" indent="-342900">
              <a:buFont typeface="Arial" panose="020B0604020202020204" pitchFamily="34" charset="0"/>
              <a:buChar char="•"/>
            </a:pPr>
            <a:r>
              <a:rPr lang="en-GB" dirty="0"/>
              <a:t>Basics of flight</a:t>
            </a:r>
          </a:p>
          <a:p>
            <a:pPr marL="342900" indent="-342900">
              <a:buFont typeface="Arial" panose="020B0604020202020204" pitchFamily="34" charset="0"/>
              <a:buChar char="•"/>
            </a:pPr>
            <a:r>
              <a:rPr lang="en-GB" dirty="0"/>
              <a:t>Deflection of air by cardboard</a:t>
            </a:r>
          </a:p>
          <a:p>
            <a:pPr marL="342900" indent="-342900">
              <a:buFont typeface="Arial" panose="020B0604020202020204" pitchFamily="34" charset="0"/>
              <a:buChar char="•"/>
            </a:pPr>
            <a:r>
              <a:rPr lang="en-GB" dirty="0"/>
              <a:t>Turning</a:t>
            </a:r>
          </a:p>
          <a:p>
            <a:pPr marL="698500" lvl="1" indent="-342900"/>
            <a:endParaRPr lang="en-GB" dirty="0"/>
          </a:p>
          <a:p>
            <a:pPr marL="342900" indent="-342900">
              <a:buFont typeface="Arial" panose="020B0604020202020204" pitchFamily="34" charset="0"/>
              <a:buChar char="•"/>
            </a:pPr>
            <a:r>
              <a:rPr lang="en-GB" dirty="0"/>
              <a:t>Optimization of control</a:t>
            </a:r>
          </a:p>
          <a:p>
            <a:pPr marL="698500" lvl="1" indent="-342900"/>
            <a:r>
              <a:rPr lang="en-GB" dirty="0"/>
              <a:t>Definition of control</a:t>
            </a:r>
          </a:p>
          <a:p>
            <a:pPr marL="698500" lvl="1" indent="-342900"/>
            <a:r>
              <a:rPr lang="en-GB" dirty="0"/>
              <a:t>Effects of curvature</a:t>
            </a:r>
          </a:p>
          <a:p>
            <a:pPr marL="698500" lvl="1" indent="-342900"/>
            <a:r>
              <a:rPr lang="en-GB" dirty="0"/>
              <a:t>Experiments</a:t>
            </a:r>
          </a:p>
        </p:txBody>
      </p:sp>
      <p:sp>
        <p:nvSpPr>
          <p:cNvPr id="4" name="Platshållare för datum 3"/>
          <p:cNvSpPr>
            <a:spLocks noGrp="1"/>
          </p:cNvSpPr>
          <p:nvPr>
            <p:ph type="dt" sz="half" idx="10"/>
          </p:nvPr>
        </p:nvSpPr>
        <p:spPr/>
        <p:txBody>
          <a:bodyPr/>
          <a:lstStyle/>
          <a:p>
            <a:r>
              <a:rPr lang="sv-SE"/>
              <a:t>International physicist’s tournament 2017</a:t>
            </a:r>
            <a:endParaRPr lang="en-GB"/>
          </a:p>
        </p:txBody>
      </p:sp>
      <p:sp>
        <p:nvSpPr>
          <p:cNvPr id="5" name="Platshållare för sidfot 4"/>
          <p:cNvSpPr>
            <a:spLocks noGrp="1"/>
          </p:cNvSpPr>
          <p:nvPr>
            <p:ph type="ftr" sz="quarter" idx="11"/>
          </p:nvPr>
        </p:nvSpPr>
        <p:spPr/>
        <p:txBody>
          <a:bodyPr/>
          <a:lstStyle/>
          <a:p>
            <a:r>
              <a:rPr lang="en-GB"/>
              <a:t>KTH IPT Team</a:t>
            </a:r>
          </a:p>
        </p:txBody>
      </p:sp>
      <p:sp>
        <p:nvSpPr>
          <p:cNvPr id="6" name="Platshållare för bildnummer 5"/>
          <p:cNvSpPr>
            <a:spLocks noGrp="1"/>
          </p:cNvSpPr>
          <p:nvPr>
            <p:ph type="sldNum" sz="quarter" idx="12"/>
          </p:nvPr>
        </p:nvSpPr>
        <p:spPr/>
        <p:txBody>
          <a:bodyPr/>
          <a:lstStyle/>
          <a:p>
            <a:fld id="{0A5BB9CA-7E98-491A-8EA1-ABE7E829D232}" type="slidenum">
              <a:rPr lang="en-GB" smtClean="0"/>
              <a:t>7</a:t>
            </a:fld>
            <a:endParaRPr lang="en-GB"/>
          </a:p>
        </p:txBody>
      </p:sp>
    </p:spTree>
    <p:extLst>
      <p:ext uri="{BB962C8B-B14F-4D97-AF65-F5344CB8AC3E}">
        <p14:creationId xmlns:p14="http://schemas.microsoft.com/office/powerpoint/2010/main" val="504213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p:cNvSpPr>
            <a:spLocks noGrp="1"/>
          </p:cNvSpPr>
          <p:nvPr>
            <p:ph idx="1"/>
          </p:nvPr>
        </p:nvSpPr>
        <p:spPr/>
        <p:txBody>
          <a:bodyPr/>
          <a:lstStyle/>
          <a:p>
            <a:pPr marL="342900" indent="-342900">
              <a:buFont typeface="Arial" panose="020B0604020202020204" pitchFamily="34" charset="0"/>
              <a:buChar char="•"/>
            </a:pPr>
            <a:r>
              <a:rPr lang="en-GB" dirty="0"/>
              <a:t>Single type of airplane</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Flight only in calm air and at walking speeds</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r>
              <a:rPr lang="en-GB" dirty="0"/>
              <a:t>Initial use of cardboard (hands at end)</a:t>
            </a:r>
          </a:p>
        </p:txBody>
      </p:sp>
      <p:sp>
        <p:nvSpPr>
          <p:cNvPr id="5" name="Platshållare för bild 4"/>
          <p:cNvSpPr>
            <a:spLocks noGrp="1"/>
          </p:cNvSpPr>
          <p:nvPr>
            <p:ph type="pic" sz="quarter" idx="13"/>
          </p:nvPr>
        </p:nvSpPr>
        <p:spPr/>
      </p:sp>
      <p:sp>
        <p:nvSpPr>
          <p:cNvPr id="2" name="Rubrik 1"/>
          <p:cNvSpPr>
            <a:spLocks noGrp="1"/>
          </p:cNvSpPr>
          <p:nvPr>
            <p:ph type="title"/>
          </p:nvPr>
        </p:nvSpPr>
        <p:spPr/>
        <p:txBody>
          <a:bodyPr/>
          <a:lstStyle/>
          <a:p>
            <a:r>
              <a:rPr lang="en-GB" dirty="0"/>
              <a:t>Delimitations and simplifications</a:t>
            </a:r>
          </a:p>
        </p:txBody>
      </p:sp>
      <p:sp>
        <p:nvSpPr>
          <p:cNvPr id="3" name="Platshållare för datum 2"/>
          <p:cNvSpPr>
            <a:spLocks noGrp="1"/>
          </p:cNvSpPr>
          <p:nvPr>
            <p:ph type="dt" sz="half" idx="10"/>
          </p:nvPr>
        </p:nvSpPr>
        <p:spPr/>
        <p:txBody>
          <a:bodyPr/>
          <a:lstStyle/>
          <a:p>
            <a:r>
              <a:rPr lang="sv-SE"/>
              <a:t>International physicist’s tournament 2017</a:t>
            </a:r>
            <a:endParaRPr lang="en-GB"/>
          </a:p>
        </p:txBody>
      </p:sp>
      <p:sp>
        <p:nvSpPr>
          <p:cNvPr id="6" name="Platshållare för sidfot 5"/>
          <p:cNvSpPr>
            <a:spLocks noGrp="1"/>
          </p:cNvSpPr>
          <p:nvPr>
            <p:ph type="ftr" sz="quarter" idx="11"/>
          </p:nvPr>
        </p:nvSpPr>
        <p:spPr/>
        <p:txBody>
          <a:bodyPr/>
          <a:lstStyle/>
          <a:p>
            <a:r>
              <a:rPr lang="en-GB"/>
              <a:t>KTH IPT Team</a:t>
            </a:r>
          </a:p>
        </p:txBody>
      </p:sp>
      <p:sp>
        <p:nvSpPr>
          <p:cNvPr id="7" name="Platshållare för bildnummer 6"/>
          <p:cNvSpPr>
            <a:spLocks noGrp="1"/>
          </p:cNvSpPr>
          <p:nvPr>
            <p:ph type="sldNum" sz="quarter" idx="12"/>
          </p:nvPr>
        </p:nvSpPr>
        <p:spPr/>
        <p:txBody>
          <a:bodyPr/>
          <a:lstStyle/>
          <a:p>
            <a:fld id="{0A5BB9CA-7E98-491A-8EA1-ABE7E829D232}" type="slidenum">
              <a:rPr lang="en-GB" smtClean="0"/>
              <a:t>8</a:t>
            </a:fld>
            <a:endParaRPr lang="en-GB"/>
          </a:p>
        </p:txBody>
      </p:sp>
    </p:spTree>
    <p:extLst>
      <p:ext uri="{BB962C8B-B14F-4D97-AF65-F5344CB8AC3E}">
        <p14:creationId xmlns:p14="http://schemas.microsoft.com/office/powerpoint/2010/main" val="891699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tshållare för bild 5"/>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169" r="2169"/>
          <a:stretch>
            <a:fillRect/>
          </a:stretch>
        </p:blipFill>
        <p:spPr/>
      </p:pic>
      <p:sp>
        <p:nvSpPr>
          <p:cNvPr id="4" name="Rubrik 3"/>
          <p:cNvSpPr>
            <a:spLocks noGrp="1"/>
          </p:cNvSpPr>
          <p:nvPr>
            <p:ph type="title"/>
          </p:nvPr>
        </p:nvSpPr>
        <p:spPr/>
        <p:txBody>
          <a:bodyPr/>
          <a:lstStyle/>
          <a:p>
            <a:r>
              <a:rPr lang="en-GB" dirty="0"/>
              <a:t>Description of aircraft</a:t>
            </a:r>
          </a:p>
        </p:txBody>
      </p:sp>
      <p:cxnSp>
        <p:nvCxnSpPr>
          <p:cNvPr id="8" name="Rak koppling 7"/>
          <p:cNvCxnSpPr/>
          <p:nvPr/>
        </p:nvCxnSpPr>
        <p:spPr>
          <a:xfrm flipH="1">
            <a:off x="3574473" y="4599709"/>
            <a:ext cx="1320800" cy="26785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textruta 8"/>
          <p:cNvSpPr txBox="1"/>
          <p:nvPr/>
        </p:nvSpPr>
        <p:spPr>
          <a:xfrm>
            <a:off x="2124363" y="4682898"/>
            <a:ext cx="1450110" cy="369332"/>
          </a:xfrm>
          <a:prstGeom prst="rect">
            <a:avLst/>
          </a:prstGeom>
          <a:noFill/>
        </p:spPr>
        <p:txBody>
          <a:bodyPr wrap="square" rtlCol="0">
            <a:spAutoFit/>
          </a:bodyPr>
          <a:lstStyle/>
          <a:p>
            <a:r>
              <a:rPr lang="en-GB" dirty="0">
                <a:solidFill>
                  <a:srgbClr val="FF0000"/>
                </a:solidFill>
              </a:rPr>
              <a:t>Front weight</a:t>
            </a:r>
          </a:p>
        </p:txBody>
      </p:sp>
      <p:cxnSp>
        <p:nvCxnSpPr>
          <p:cNvPr id="10" name="Rak koppling 9"/>
          <p:cNvCxnSpPr/>
          <p:nvPr/>
        </p:nvCxnSpPr>
        <p:spPr>
          <a:xfrm flipH="1">
            <a:off x="3158836" y="1947018"/>
            <a:ext cx="2664691" cy="51458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textruta 10"/>
          <p:cNvSpPr txBox="1"/>
          <p:nvPr/>
        </p:nvSpPr>
        <p:spPr>
          <a:xfrm>
            <a:off x="4523509" y="1588264"/>
            <a:ext cx="2650837" cy="369332"/>
          </a:xfrm>
          <a:prstGeom prst="rect">
            <a:avLst/>
          </a:prstGeom>
          <a:noFill/>
        </p:spPr>
        <p:txBody>
          <a:bodyPr wrap="square" rtlCol="0">
            <a:spAutoFit/>
          </a:bodyPr>
          <a:lstStyle/>
          <a:p>
            <a:r>
              <a:rPr lang="en-GB" dirty="0">
                <a:solidFill>
                  <a:srgbClr val="FF0000"/>
                </a:solidFill>
              </a:rPr>
              <a:t>Flaps to control turning</a:t>
            </a:r>
          </a:p>
        </p:txBody>
      </p:sp>
      <p:cxnSp>
        <p:nvCxnSpPr>
          <p:cNvPr id="13" name="Rak koppling 12"/>
          <p:cNvCxnSpPr/>
          <p:nvPr/>
        </p:nvCxnSpPr>
        <p:spPr>
          <a:xfrm>
            <a:off x="5848928" y="1947018"/>
            <a:ext cx="699654" cy="36207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Rak koppling 15"/>
          <p:cNvCxnSpPr/>
          <p:nvPr/>
        </p:nvCxnSpPr>
        <p:spPr>
          <a:xfrm flipH="1" flipV="1">
            <a:off x="4987637" y="3396727"/>
            <a:ext cx="1699490" cy="99822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Rak koppling 17"/>
          <p:cNvCxnSpPr/>
          <p:nvPr/>
        </p:nvCxnSpPr>
        <p:spPr>
          <a:xfrm flipH="1" flipV="1">
            <a:off x="6548583" y="3280583"/>
            <a:ext cx="748144" cy="11614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1" name="textruta 20"/>
          <p:cNvSpPr txBox="1"/>
          <p:nvPr/>
        </p:nvSpPr>
        <p:spPr>
          <a:xfrm>
            <a:off x="7296727" y="3073561"/>
            <a:ext cx="1450110" cy="646331"/>
          </a:xfrm>
          <a:prstGeom prst="rect">
            <a:avLst/>
          </a:prstGeom>
          <a:noFill/>
        </p:spPr>
        <p:txBody>
          <a:bodyPr wrap="square" rtlCol="0">
            <a:spAutoFit/>
          </a:bodyPr>
          <a:lstStyle/>
          <a:p>
            <a:r>
              <a:rPr lang="en-GB" dirty="0">
                <a:solidFill>
                  <a:srgbClr val="FF0000"/>
                </a:solidFill>
              </a:rPr>
              <a:t>Angled surface</a:t>
            </a:r>
          </a:p>
        </p:txBody>
      </p:sp>
      <p:sp>
        <p:nvSpPr>
          <p:cNvPr id="22" name="textruta 21"/>
          <p:cNvSpPr txBox="1"/>
          <p:nvPr/>
        </p:nvSpPr>
        <p:spPr>
          <a:xfrm>
            <a:off x="6687127" y="4229422"/>
            <a:ext cx="1764146" cy="369332"/>
          </a:xfrm>
          <a:prstGeom prst="rect">
            <a:avLst/>
          </a:prstGeom>
          <a:noFill/>
        </p:spPr>
        <p:txBody>
          <a:bodyPr wrap="square" rtlCol="0">
            <a:spAutoFit/>
          </a:bodyPr>
          <a:lstStyle/>
          <a:p>
            <a:r>
              <a:rPr lang="en-GB" dirty="0">
                <a:solidFill>
                  <a:srgbClr val="FF0000"/>
                </a:solidFill>
              </a:rPr>
              <a:t>Slight V shape</a:t>
            </a:r>
          </a:p>
        </p:txBody>
      </p:sp>
      <p:sp>
        <p:nvSpPr>
          <p:cNvPr id="23" name="textruta 22"/>
          <p:cNvSpPr txBox="1"/>
          <p:nvPr/>
        </p:nvSpPr>
        <p:spPr>
          <a:xfrm>
            <a:off x="79589" y="2750395"/>
            <a:ext cx="1470748" cy="646331"/>
          </a:xfrm>
          <a:prstGeom prst="rect">
            <a:avLst/>
          </a:prstGeom>
          <a:noFill/>
        </p:spPr>
        <p:txBody>
          <a:bodyPr wrap="square" rtlCol="0">
            <a:spAutoFit/>
          </a:bodyPr>
          <a:lstStyle/>
          <a:p>
            <a:r>
              <a:rPr lang="en-GB" dirty="0">
                <a:solidFill>
                  <a:srgbClr val="FF0000"/>
                </a:solidFill>
              </a:rPr>
              <a:t>Swept-back wings</a:t>
            </a:r>
          </a:p>
        </p:txBody>
      </p:sp>
      <p:sp>
        <p:nvSpPr>
          <p:cNvPr id="24" name="Vänster klammerparentes 23"/>
          <p:cNvSpPr/>
          <p:nvPr/>
        </p:nvSpPr>
        <p:spPr>
          <a:xfrm>
            <a:off x="2512291" y="2309091"/>
            <a:ext cx="193964" cy="1847273"/>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6" name="Rak koppling 25"/>
          <p:cNvCxnSpPr>
            <a:stCxn id="24" idx="1"/>
            <a:endCxn id="23" idx="3"/>
          </p:cNvCxnSpPr>
          <p:nvPr/>
        </p:nvCxnSpPr>
        <p:spPr>
          <a:xfrm flipH="1" flipV="1">
            <a:off x="1550337" y="3073561"/>
            <a:ext cx="961954" cy="159167"/>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Platshållare för datum 1"/>
          <p:cNvSpPr>
            <a:spLocks noGrp="1"/>
          </p:cNvSpPr>
          <p:nvPr>
            <p:ph type="dt" sz="half" idx="10"/>
          </p:nvPr>
        </p:nvSpPr>
        <p:spPr/>
        <p:txBody>
          <a:bodyPr/>
          <a:lstStyle/>
          <a:p>
            <a:r>
              <a:rPr lang="sv-SE"/>
              <a:t>International physicist’s tournament 2017</a:t>
            </a:r>
            <a:endParaRPr lang="en-GB"/>
          </a:p>
        </p:txBody>
      </p:sp>
      <p:sp>
        <p:nvSpPr>
          <p:cNvPr id="3" name="Platshållare för sidfot 2"/>
          <p:cNvSpPr>
            <a:spLocks noGrp="1"/>
          </p:cNvSpPr>
          <p:nvPr>
            <p:ph type="ftr" sz="quarter" idx="11"/>
          </p:nvPr>
        </p:nvSpPr>
        <p:spPr/>
        <p:txBody>
          <a:bodyPr/>
          <a:lstStyle/>
          <a:p>
            <a:r>
              <a:rPr lang="en-GB"/>
              <a:t>KTH IPT Team</a:t>
            </a:r>
          </a:p>
        </p:txBody>
      </p:sp>
      <p:sp>
        <p:nvSpPr>
          <p:cNvPr id="5" name="Platshållare för bildnummer 4"/>
          <p:cNvSpPr>
            <a:spLocks noGrp="1"/>
          </p:cNvSpPr>
          <p:nvPr>
            <p:ph type="sldNum" sz="quarter" idx="12"/>
          </p:nvPr>
        </p:nvSpPr>
        <p:spPr/>
        <p:txBody>
          <a:bodyPr/>
          <a:lstStyle/>
          <a:p>
            <a:fld id="{0A5BB9CA-7E98-491A-8EA1-ABE7E829D232}" type="slidenum">
              <a:rPr lang="en-GB" smtClean="0"/>
              <a:t>9</a:t>
            </a:fld>
            <a:endParaRPr lang="en-GB"/>
          </a:p>
        </p:txBody>
      </p:sp>
      <p:sp>
        <p:nvSpPr>
          <p:cNvPr id="7" name="textruta 6"/>
          <p:cNvSpPr txBox="1"/>
          <p:nvPr/>
        </p:nvSpPr>
        <p:spPr>
          <a:xfrm>
            <a:off x="6034881" y="540380"/>
            <a:ext cx="3068638" cy="523220"/>
          </a:xfrm>
          <a:prstGeom prst="rect">
            <a:avLst/>
          </a:prstGeom>
          <a:noFill/>
        </p:spPr>
        <p:txBody>
          <a:bodyPr wrap="square" rtlCol="0">
            <a:spAutoFit/>
          </a:bodyPr>
          <a:lstStyle/>
          <a:p>
            <a:r>
              <a:rPr lang="en-GB" sz="1400" dirty="0"/>
              <a:t>Glider design by </a:t>
            </a:r>
            <a:r>
              <a:rPr lang="en-GB" sz="1400" dirty="0">
                <a:hlinkClick r:id="rId3"/>
              </a:rPr>
              <a:t>http://www.sciencetoymaker.org/</a:t>
            </a:r>
            <a:endParaRPr lang="en-GB" sz="1400" dirty="0"/>
          </a:p>
        </p:txBody>
      </p:sp>
    </p:spTree>
    <p:extLst>
      <p:ext uri="{BB962C8B-B14F-4D97-AF65-F5344CB8AC3E}">
        <p14:creationId xmlns:p14="http://schemas.microsoft.com/office/powerpoint/2010/main" val="29521630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TH_PPT template 2014 green</Template>
  <TotalTime>5800</TotalTime>
  <Words>1410</Words>
  <Application>Microsoft Office PowerPoint</Application>
  <PresentationFormat>Bildspel på skärmen (4:3)</PresentationFormat>
  <Paragraphs>313</Paragraphs>
  <Slides>37</Slides>
  <Notes>13</Notes>
  <HiddenSlides>6</HiddenSlides>
  <MMClips>2</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37</vt:i4>
      </vt:variant>
    </vt:vector>
  </HeadingPairs>
  <TitlesOfParts>
    <vt:vector size="42" baseType="lpstr">
      <vt:lpstr>Arial</vt:lpstr>
      <vt:lpstr>Calibri</vt:lpstr>
      <vt:lpstr>Cambria Math</vt:lpstr>
      <vt:lpstr>Template_KTH_with colours and grafs</vt:lpstr>
      <vt:lpstr>think-cell Slide</vt:lpstr>
      <vt:lpstr>1. Handy glider</vt:lpstr>
      <vt:lpstr>Problem statement</vt:lpstr>
      <vt:lpstr>Problem statement, highlighted</vt:lpstr>
      <vt:lpstr>Problem statement</vt:lpstr>
      <vt:lpstr>Problem statement</vt:lpstr>
      <vt:lpstr>Video example</vt:lpstr>
      <vt:lpstr>Presentation contents</vt:lpstr>
      <vt:lpstr>Delimitations and simplifications</vt:lpstr>
      <vt:lpstr>Description of aircraft</vt:lpstr>
      <vt:lpstr>Description of aircraft: size comparison to hand</vt:lpstr>
      <vt:lpstr>Flight basics</vt:lpstr>
      <vt:lpstr>Flight basics</vt:lpstr>
      <vt:lpstr>Flight basics</vt:lpstr>
      <vt:lpstr>Deflection of air by cardboard</vt:lpstr>
      <vt:lpstr>Simulations</vt:lpstr>
      <vt:lpstr>Air flow around cardboard</vt:lpstr>
      <vt:lpstr>Comparison of angles</vt:lpstr>
      <vt:lpstr>Zone of high updraft: source of control</vt:lpstr>
      <vt:lpstr>Effect of board yaw</vt:lpstr>
      <vt:lpstr>Turning</vt:lpstr>
      <vt:lpstr>Implications</vt:lpstr>
      <vt:lpstr>Hand parameters</vt:lpstr>
      <vt:lpstr>Experimental setup</vt:lpstr>
      <vt:lpstr>Experimental setup</vt:lpstr>
      <vt:lpstr>Hand parameters: Orientation</vt:lpstr>
      <vt:lpstr>Hand parameters: Spread of fingers</vt:lpstr>
      <vt:lpstr>Hand parameters: pitch</vt:lpstr>
      <vt:lpstr>Hand parameters: yaw</vt:lpstr>
      <vt:lpstr>Hand parameters: bend</vt:lpstr>
      <vt:lpstr>Conclusions</vt:lpstr>
      <vt:lpstr>Proposed experiment</vt:lpstr>
      <vt:lpstr>PowerPoint-presentation</vt:lpstr>
      <vt:lpstr>Backup slides</vt:lpstr>
      <vt:lpstr>No spread</vt:lpstr>
      <vt:lpstr>Nano spread</vt:lpstr>
      <vt:lpstr>Slight spread</vt:lpstr>
      <vt:lpstr>Max sprea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 Handy glider</dc:title>
  <dc:creator>Thomas Agrenius Gustafsson</dc:creator>
  <cp:lastModifiedBy>Thomas Agrenius Gustafsson</cp:lastModifiedBy>
  <cp:revision>69</cp:revision>
  <dcterms:created xsi:type="dcterms:W3CDTF">2016-12-11T20:02:55Z</dcterms:created>
  <dcterms:modified xsi:type="dcterms:W3CDTF">2017-06-25T19:42:05Z</dcterms:modified>
</cp:coreProperties>
</file>